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72" r:id="rId1"/>
    <p:sldMasterId id="2147484130" r:id="rId2"/>
    <p:sldMasterId id="2147484170" r:id="rId3"/>
    <p:sldMasterId id="2147484222" r:id="rId4"/>
    <p:sldMasterId id="2147484241" r:id="rId5"/>
    <p:sldMasterId id="2147484243" r:id="rId6"/>
  </p:sldMasterIdLst>
  <p:notesMasterIdLst>
    <p:notesMasterId r:id="rId31"/>
  </p:notesMasterIdLst>
  <p:handoutMasterIdLst>
    <p:handoutMasterId r:id="rId32"/>
  </p:handoutMasterIdLst>
  <p:sldIdLst>
    <p:sldId id="1541" r:id="rId7"/>
    <p:sldId id="1824" r:id="rId8"/>
    <p:sldId id="1883" r:id="rId9"/>
    <p:sldId id="1860" r:id="rId10"/>
    <p:sldId id="1861" r:id="rId11"/>
    <p:sldId id="1863" r:id="rId12"/>
    <p:sldId id="1864" r:id="rId13"/>
    <p:sldId id="1865" r:id="rId14"/>
    <p:sldId id="1866" r:id="rId15"/>
    <p:sldId id="1867" r:id="rId16"/>
    <p:sldId id="1868" r:id="rId17"/>
    <p:sldId id="1869" r:id="rId18"/>
    <p:sldId id="1870" r:id="rId19"/>
    <p:sldId id="1878" r:id="rId20"/>
    <p:sldId id="1871" r:id="rId21"/>
    <p:sldId id="1877" r:id="rId22"/>
    <p:sldId id="1872" r:id="rId23"/>
    <p:sldId id="1873" r:id="rId24"/>
    <p:sldId id="1874" r:id="rId25"/>
    <p:sldId id="1879" r:id="rId26"/>
    <p:sldId id="1880" r:id="rId27"/>
    <p:sldId id="1881" r:id="rId28"/>
    <p:sldId id="1882" r:id="rId29"/>
    <p:sldId id="1690" r:id="rId30"/>
  </p:sldIdLst>
  <p:sldSz cx="9144000" cy="6858000" type="screen4x3"/>
  <p:notesSz cx="6794500" cy="9931400"/>
  <p:custDataLst>
    <p:tags r:id="rId33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8A8"/>
    <a:srgbClr val="002E8A"/>
    <a:srgbClr val="FFCCCC"/>
    <a:srgbClr val="3AF843"/>
    <a:srgbClr val="FFC000"/>
    <a:srgbClr val="0D0D0D"/>
    <a:srgbClr val="F4B183"/>
    <a:srgbClr val="FFFF99"/>
    <a:srgbClr val="EE9A96"/>
    <a:srgbClr val="D38D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1" autoAdjust="0"/>
    <p:restoredTop sz="95397" autoAdjust="0"/>
  </p:normalViewPr>
  <p:slideViewPr>
    <p:cSldViewPr>
      <p:cViewPr varScale="1">
        <p:scale>
          <a:sx n="72" d="100"/>
          <a:sy n="72" d="100"/>
        </p:scale>
        <p:origin x="1266" y="66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396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48645" y="1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030B4A-3F3E-4D49-8304-A8A8B8740EB6}" type="datetimeFigureOut">
              <a:rPr lang="es-PE" smtClean="0"/>
              <a:t>19/10/2020</a:t>
            </a:fld>
            <a:endParaRPr lang="es-PE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44283" cy="4982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BC3008-D549-42D7-9DCB-9AE54103ACD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350907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3583" cy="4986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49299" y="2"/>
            <a:ext cx="2943583" cy="4986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334A3-B448-4B59-A12F-772D4F6AFDF8}" type="datetimeFigureOut">
              <a:rPr lang="es-PE" smtClean="0"/>
              <a:t>19/10/2020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63638" y="1241425"/>
            <a:ext cx="4467225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289" y="4779905"/>
            <a:ext cx="5435924" cy="39096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32766"/>
            <a:ext cx="2943583" cy="4986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49299" y="9432766"/>
            <a:ext cx="2943583" cy="4986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7EC56B-8E68-4248-B81C-1228E18CA43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691327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0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3.bin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.bin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0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.bin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94" y="-21670"/>
            <a:ext cx="9172894" cy="687967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437874" y="5805273"/>
            <a:ext cx="4751766" cy="152971"/>
          </a:xfrm>
        </p:spPr>
        <p:txBody>
          <a:bodyPr anchor="b">
            <a:noAutofit/>
          </a:bodyPr>
          <a:lstStyle>
            <a:lvl1pPr algn="r">
              <a:defRPr sz="2585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329862" y="6065912"/>
            <a:ext cx="4833156" cy="576064"/>
          </a:xfrm>
        </p:spPr>
        <p:txBody>
          <a:bodyPr>
            <a:normAutofit/>
          </a:bodyPr>
          <a:lstStyle>
            <a:lvl1pPr marL="0" indent="0" algn="r">
              <a:buNone/>
              <a:defRPr sz="1477">
                <a:solidFill>
                  <a:srgbClr val="4B841D"/>
                </a:solidFill>
              </a:defRPr>
            </a:lvl1pPr>
            <a:lvl2pPr marL="422028" indent="0" algn="ctr">
              <a:buNone/>
              <a:defRPr sz="1846"/>
            </a:lvl2pPr>
            <a:lvl3pPr marL="844056" indent="0" algn="ctr">
              <a:buNone/>
              <a:defRPr sz="1662"/>
            </a:lvl3pPr>
            <a:lvl4pPr marL="1266086" indent="0" algn="ctr">
              <a:buNone/>
              <a:defRPr sz="1477"/>
            </a:lvl4pPr>
            <a:lvl5pPr marL="1688114" indent="0" algn="ctr">
              <a:buNone/>
              <a:defRPr sz="1477"/>
            </a:lvl5pPr>
            <a:lvl6pPr marL="2110142" indent="0" algn="ctr">
              <a:buNone/>
              <a:defRPr sz="1477"/>
            </a:lvl6pPr>
            <a:lvl7pPr marL="2532169" indent="0" algn="ctr">
              <a:buNone/>
              <a:defRPr sz="1477"/>
            </a:lvl7pPr>
            <a:lvl8pPr marL="2954198" indent="0" algn="ctr">
              <a:buNone/>
              <a:defRPr sz="1477"/>
            </a:lvl8pPr>
            <a:lvl9pPr marL="3376227" indent="0" algn="ctr">
              <a:buNone/>
              <a:defRPr sz="1477"/>
            </a:lvl9pPr>
          </a:lstStyle>
          <a:p>
            <a:r>
              <a:rPr lang="es-ES" dirty="0"/>
              <a:t>Haga clic para modificar el estilo de subtítulo del patrón</a:t>
            </a:r>
            <a:endParaRPr lang="es-PE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274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33623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3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4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5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pic>
        <p:nvPicPr>
          <p:cNvPr id="16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7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8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9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20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55724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7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8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9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1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pic>
        <p:nvPicPr>
          <p:cNvPr id="12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3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4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65326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://ieslaorden.es/wp-content/uploads/2011/07/corcho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00" b="25000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168799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7030279" y="65743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8" name="Rectángulo 17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F8F8F8"/>
              </a:solidFill>
            </a:endParaRPr>
          </a:p>
        </p:txBody>
      </p:sp>
      <p:sp>
        <p:nvSpPr>
          <p:cNvPr id="20" name="Rectángulo 19"/>
          <p:cNvSpPr/>
          <p:nvPr userDrawn="1"/>
        </p:nvSpPr>
        <p:spPr>
          <a:xfrm rot="16200000">
            <a:off x="-497930" y="681710"/>
            <a:ext cx="1233858" cy="23799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21776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0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sp>
        <p:nvSpPr>
          <p:cNvPr id="13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sp>
        <p:nvSpPr>
          <p:cNvPr id="14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sp>
        <p:nvSpPr>
          <p:cNvPr id="15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78733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3923928" y="6492875"/>
            <a:ext cx="205740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32"/>
            <a:ext cx="179512" cy="864096"/>
          </a:xfrm>
          <a:prstGeom prst="rect">
            <a:avLst/>
          </a:prstGeom>
        </p:spPr>
      </p:pic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7021692" cy="54359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220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sp>
        <p:nvSpPr>
          <p:cNvPr id="13" name="Marcador de contenido 2"/>
          <p:cNvSpPr>
            <a:spLocks noGrp="1"/>
          </p:cNvSpPr>
          <p:nvPr>
            <p:ph idx="1"/>
          </p:nvPr>
        </p:nvSpPr>
        <p:spPr>
          <a:xfrm>
            <a:off x="323528" y="692696"/>
            <a:ext cx="7525748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20" b="1"/>
            </a:lvl1pPr>
            <a:lvl5pPr marL="1688114" indent="0">
              <a:buNone/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pic>
        <p:nvPicPr>
          <p:cNvPr id="48" name="Imagen 4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9" t="34600" r="20329" b="34600"/>
          <a:stretch/>
        </p:blipFill>
        <p:spPr>
          <a:xfrm>
            <a:off x="8172400" y="6381328"/>
            <a:ext cx="792088" cy="290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6961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/>
              <a:pPr/>
              <a:t>19/10/2020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3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Rectángulo 17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66974251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969"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87624" y="260657"/>
            <a:ext cx="6229604" cy="7200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9" t="34600" r="20329" b="34600"/>
          <a:stretch/>
        </p:blipFill>
        <p:spPr>
          <a:xfrm>
            <a:off x="7812360" y="122749"/>
            <a:ext cx="1137314" cy="417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5224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93"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5989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2368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017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75936" y="188640"/>
            <a:ext cx="8229600" cy="114300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95536" y="1484784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82792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946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Rectángulo 5"/>
          <p:cNvSpPr/>
          <p:nvPr userDrawn="1"/>
        </p:nvSpPr>
        <p:spPr>
          <a:xfrm>
            <a:off x="0" y="0"/>
            <a:ext cx="9144000" cy="5949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62180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83990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9314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757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84315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29609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65346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40007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05444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53828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64401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5923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362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28" y="-171400"/>
            <a:ext cx="850412" cy="7056784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87624" y="260657"/>
            <a:ext cx="6229604" cy="720075"/>
          </a:xfrm>
        </p:spPr>
        <p:txBody>
          <a:bodyPr/>
          <a:lstStyle>
            <a:lvl1pPr>
              <a:defRPr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40897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6085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2604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0832"/>
            <a:ext cx="838200" cy="6919176"/>
          </a:xfrm>
          <a:prstGeom prst="rect">
            <a:avLst/>
          </a:prstGeom>
        </p:spPr>
      </p:pic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1187624" y="260657"/>
            <a:ext cx="6229604" cy="720075"/>
          </a:xfrm>
        </p:spPr>
        <p:txBody>
          <a:bodyPr/>
          <a:lstStyle>
            <a:lvl1pPr>
              <a:defRPr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3525216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 userDrawn="1"/>
        </p:nvSpPr>
        <p:spPr>
          <a:xfrm>
            <a:off x="1059507" y="2060848"/>
            <a:ext cx="2970330" cy="3816424"/>
          </a:xfrm>
          <a:prstGeom prst="rect">
            <a:avLst/>
          </a:prstGeom>
          <a:solidFill>
            <a:srgbClr val="4B84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59786" y="457200"/>
            <a:ext cx="2949178" cy="1600200"/>
          </a:xfrm>
        </p:spPr>
        <p:txBody>
          <a:bodyPr anchor="b"/>
          <a:lstStyle>
            <a:lvl1pPr>
              <a:defRPr sz="2954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085946" y="987434"/>
            <a:ext cx="4629150" cy="4873625"/>
          </a:xfrm>
        </p:spPr>
        <p:txBody>
          <a:bodyPr>
            <a:normAutofit/>
          </a:bodyPr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061610" y="2057400"/>
            <a:ext cx="2949178" cy="3811588"/>
          </a:xfrm>
        </p:spPr>
        <p:txBody>
          <a:bodyPr/>
          <a:lstStyle>
            <a:lvl1pPr marL="0" indent="0">
              <a:buNone/>
              <a:defRPr sz="1477">
                <a:solidFill>
                  <a:schemeClr val="bg1"/>
                </a:solidFill>
              </a:defRPr>
            </a:lvl1pPr>
            <a:lvl2pPr marL="422028" indent="0">
              <a:buNone/>
              <a:defRPr sz="1292"/>
            </a:lvl2pPr>
            <a:lvl3pPr marL="844056" indent="0">
              <a:buNone/>
              <a:defRPr sz="1108"/>
            </a:lvl3pPr>
            <a:lvl4pPr marL="1266086" indent="0">
              <a:buNone/>
              <a:defRPr sz="923"/>
            </a:lvl4pPr>
            <a:lvl5pPr marL="1688114" indent="0">
              <a:buNone/>
              <a:defRPr sz="923"/>
            </a:lvl5pPr>
            <a:lvl6pPr marL="2110142" indent="0">
              <a:buNone/>
              <a:defRPr sz="923"/>
            </a:lvl6pPr>
            <a:lvl7pPr marL="2532169" indent="0">
              <a:buNone/>
              <a:defRPr sz="923"/>
            </a:lvl7pPr>
            <a:lvl8pPr marL="2954198" indent="0">
              <a:buNone/>
              <a:defRPr sz="923"/>
            </a:lvl8pPr>
            <a:lvl9pPr marL="3376227" indent="0">
              <a:buNone/>
              <a:defRPr sz="923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6004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 userDrawn="1"/>
        </p:nvSpPr>
        <p:spPr>
          <a:xfrm>
            <a:off x="1059507" y="2060848"/>
            <a:ext cx="2970330" cy="3816424"/>
          </a:xfrm>
          <a:prstGeom prst="rect">
            <a:avLst/>
          </a:prstGeom>
          <a:solidFill>
            <a:srgbClr val="222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59786" y="457200"/>
            <a:ext cx="2949178" cy="1600200"/>
          </a:xfrm>
        </p:spPr>
        <p:txBody>
          <a:bodyPr anchor="b"/>
          <a:lstStyle>
            <a:lvl1pPr>
              <a:defRPr sz="2954"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085946" y="987434"/>
            <a:ext cx="4629150" cy="4873625"/>
          </a:xfrm>
        </p:spPr>
        <p:txBody>
          <a:bodyPr>
            <a:normAutofit/>
          </a:bodyPr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061610" y="2057400"/>
            <a:ext cx="2949178" cy="3811588"/>
          </a:xfrm>
        </p:spPr>
        <p:txBody>
          <a:bodyPr/>
          <a:lstStyle>
            <a:lvl1pPr marL="0" indent="0">
              <a:buNone/>
              <a:defRPr sz="1477">
                <a:solidFill>
                  <a:schemeClr val="bg1"/>
                </a:solidFill>
              </a:defRPr>
            </a:lvl1pPr>
            <a:lvl2pPr marL="422028" indent="0">
              <a:buNone/>
              <a:defRPr sz="1292"/>
            </a:lvl2pPr>
            <a:lvl3pPr marL="844056" indent="0">
              <a:buNone/>
              <a:defRPr sz="1108"/>
            </a:lvl3pPr>
            <a:lvl4pPr marL="1266086" indent="0">
              <a:buNone/>
              <a:defRPr sz="923"/>
            </a:lvl4pPr>
            <a:lvl5pPr marL="1688114" indent="0">
              <a:buNone/>
              <a:defRPr sz="923"/>
            </a:lvl5pPr>
            <a:lvl6pPr marL="2110142" indent="0">
              <a:buNone/>
              <a:defRPr sz="923"/>
            </a:lvl6pPr>
            <a:lvl7pPr marL="2532169" indent="0">
              <a:buNone/>
              <a:defRPr sz="923"/>
            </a:lvl7pPr>
            <a:lvl8pPr marL="2954198" indent="0">
              <a:buNone/>
              <a:defRPr sz="923"/>
            </a:lvl8pPr>
            <a:lvl9pPr marL="3376227" indent="0">
              <a:buNone/>
              <a:defRPr sz="923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94"/>
            <a:ext cx="683568" cy="713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5307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39554" y="987434"/>
            <a:ext cx="8175544" cy="4873625"/>
          </a:xfrm>
        </p:spPr>
        <p:txBody>
          <a:bodyPr>
            <a:normAutofit/>
          </a:bodyPr>
          <a:lstStyle>
            <a:lvl1pPr>
              <a:defRPr sz="1662"/>
            </a:lvl1pPr>
            <a:lvl2pPr>
              <a:defRPr sz="1477"/>
            </a:lvl2pPr>
            <a:lvl3pPr>
              <a:defRPr sz="1292"/>
            </a:lvl3pPr>
            <a:lvl4pPr>
              <a:defRPr sz="1108"/>
            </a:lvl4pPr>
            <a:lvl5pPr>
              <a:defRPr sz="1108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2474"/>
            <a:ext cx="9144000" cy="6880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5618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_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59786" y="457200"/>
            <a:ext cx="2949178" cy="1600200"/>
          </a:xfrm>
        </p:spPr>
        <p:txBody>
          <a:bodyPr anchor="b"/>
          <a:lstStyle>
            <a:lvl1pPr>
              <a:defRPr sz="2954"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085946" y="987434"/>
            <a:ext cx="4629150" cy="4873625"/>
          </a:xfrm>
        </p:spPr>
        <p:txBody>
          <a:bodyPr>
            <a:normAutofit/>
          </a:bodyPr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061610" y="2057400"/>
            <a:ext cx="2949178" cy="3811588"/>
          </a:xfrm>
        </p:spPr>
        <p:txBody>
          <a:bodyPr/>
          <a:lstStyle>
            <a:lvl1pPr marL="0" indent="0">
              <a:buNone/>
              <a:defRPr sz="1477">
                <a:solidFill>
                  <a:schemeClr val="bg1"/>
                </a:solidFill>
              </a:defRPr>
            </a:lvl1pPr>
            <a:lvl2pPr marL="422028" indent="0">
              <a:buNone/>
              <a:defRPr sz="1292"/>
            </a:lvl2pPr>
            <a:lvl3pPr marL="844056" indent="0">
              <a:buNone/>
              <a:defRPr sz="1108"/>
            </a:lvl3pPr>
            <a:lvl4pPr marL="1266086" indent="0">
              <a:buNone/>
              <a:defRPr sz="923"/>
            </a:lvl4pPr>
            <a:lvl5pPr marL="1688114" indent="0">
              <a:buNone/>
              <a:defRPr sz="923"/>
            </a:lvl5pPr>
            <a:lvl6pPr marL="2110142" indent="0">
              <a:buNone/>
              <a:defRPr sz="923"/>
            </a:lvl6pPr>
            <a:lvl7pPr marL="2532169" indent="0">
              <a:buNone/>
              <a:defRPr sz="923"/>
            </a:lvl7pPr>
            <a:lvl8pPr marL="2954198" indent="0">
              <a:buNone/>
              <a:defRPr sz="923"/>
            </a:lvl8pPr>
            <a:lvl9pPr marL="3376227" indent="0">
              <a:buNone/>
              <a:defRPr sz="923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5060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83" b="10743"/>
          <a:stretch/>
        </p:blipFill>
        <p:spPr>
          <a:xfrm>
            <a:off x="3203850" y="2780928"/>
            <a:ext cx="5597104" cy="396044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24" t="8625" r="86765" b="73772"/>
          <a:stretch/>
        </p:blipFill>
        <p:spPr>
          <a:xfrm>
            <a:off x="0" y="0"/>
            <a:ext cx="186138" cy="1340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1333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8620" y="188640"/>
            <a:ext cx="7021692" cy="543595"/>
          </a:xfrm>
        </p:spPr>
        <p:txBody>
          <a:bodyPr anchor="b">
            <a:normAutofit/>
          </a:bodyPr>
          <a:lstStyle>
            <a:lvl1pPr>
              <a:defRPr sz="2400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8620" y="620688"/>
            <a:ext cx="7021692" cy="432048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5pPr marL="1828754" indent="0">
              <a:buNone/>
              <a:defRPr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3299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383870" y="5373225"/>
            <a:ext cx="4751766" cy="152971"/>
          </a:xfrm>
        </p:spPr>
        <p:txBody>
          <a:bodyPr anchor="b">
            <a:noAutofit/>
          </a:bodyPr>
          <a:lstStyle>
            <a:lvl1pPr algn="r">
              <a:defRPr sz="2585"/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329862" y="5589240"/>
            <a:ext cx="4833156" cy="576064"/>
          </a:xfrm>
        </p:spPr>
        <p:txBody>
          <a:bodyPr>
            <a:normAutofit/>
          </a:bodyPr>
          <a:lstStyle>
            <a:lvl1pPr marL="0" indent="0" algn="r">
              <a:buNone/>
              <a:defRPr sz="1477"/>
            </a:lvl1pPr>
            <a:lvl2pPr marL="422028" indent="0" algn="ctr">
              <a:buNone/>
              <a:defRPr sz="1846"/>
            </a:lvl2pPr>
            <a:lvl3pPr marL="844056" indent="0" algn="ctr">
              <a:buNone/>
              <a:defRPr sz="1662"/>
            </a:lvl3pPr>
            <a:lvl4pPr marL="1266086" indent="0" algn="ctr">
              <a:buNone/>
              <a:defRPr sz="1477"/>
            </a:lvl4pPr>
            <a:lvl5pPr marL="1688114" indent="0" algn="ctr">
              <a:buNone/>
              <a:defRPr sz="1477"/>
            </a:lvl5pPr>
            <a:lvl6pPr marL="2110142" indent="0" algn="ctr">
              <a:buNone/>
              <a:defRPr sz="1477"/>
            </a:lvl6pPr>
            <a:lvl7pPr marL="2532169" indent="0" algn="ctr">
              <a:buNone/>
              <a:defRPr sz="1477"/>
            </a:lvl7pPr>
            <a:lvl8pPr marL="2954198" indent="0" algn="ctr">
              <a:buNone/>
              <a:defRPr sz="1477"/>
            </a:lvl8pPr>
            <a:lvl9pPr marL="3376227" indent="0" algn="ctr">
              <a:buNone/>
              <a:defRPr sz="1477"/>
            </a:lvl9pPr>
          </a:lstStyle>
          <a:p>
            <a:r>
              <a:rPr lang="es-ES" dirty="0"/>
              <a:t>Haga clic para modificar el estilo de subtítulo del patrón</a:t>
            </a:r>
            <a:endParaRPr lang="es-PE" dirty="0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8169"/>
            <a:ext cx="9144000" cy="6459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3425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94" y="-21670"/>
            <a:ext cx="9172894" cy="687967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437874" y="5805273"/>
            <a:ext cx="4751766" cy="152971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2585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329862" y="6065912"/>
            <a:ext cx="4833156" cy="5760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477">
                <a:solidFill>
                  <a:srgbClr val="4B841D"/>
                </a:solidFill>
              </a:defRPr>
            </a:lvl1pPr>
            <a:lvl2pPr marL="422028" indent="0" algn="ctr">
              <a:buNone/>
              <a:defRPr sz="1846"/>
            </a:lvl2pPr>
            <a:lvl3pPr marL="844056" indent="0" algn="ctr">
              <a:buNone/>
              <a:defRPr sz="1662"/>
            </a:lvl3pPr>
            <a:lvl4pPr marL="1266086" indent="0" algn="ctr">
              <a:buNone/>
              <a:defRPr sz="1477"/>
            </a:lvl4pPr>
            <a:lvl5pPr marL="1688114" indent="0" algn="ctr">
              <a:buNone/>
              <a:defRPr sz="1477"/>
            </a:lvl5pPr>
            <a:lvl6pPr marL="2110142" indent="0" algn="ctr">
              <a:buNone/>
              <a:defRPr sz="1477"/>
            </a:lvl6pPr>
            <a:lvl7pPr marL="2532169" indent="0" algn="ctr">
              <a:buNone/>
              <a:defRPr sz="1477"/>
            </a:lvl7pPr>
            <a:lvl8pPr marL="2954198" indent="0" algn="ctr">
              <a:buNone/>
              <a:defRPr sz="1477"/>
            </a:lvl8pPr>
            <a:lvl9pPr marL="3376227" indent="0" algn="ctr">
              <a:buNone/>
              <a:defRPr sz="1477"/>
            </a:lvl9pPr>
          </a:lstStyle>
          <a:p>
            <a:r>
              <a:rPr lang="es-ES" dirty="0"/>
              <a:t>Haga clic para modificar el estilo de subtítulo del patrón</a:t>
            </a:r>
            <a:endParaRPr lang="es-PE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70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383870" y="5373225"/>
            <a:ext cx="4751766" cy="152971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2585"/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329862" y="5589240"/>
            <a:ext cx="4833156" cy="5760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477"/>
            </a:lvl1pPr>
            <a:lvl2pPr marL="422028" indent="0" algn="ctr">
              <a:buNone/>
              <a:defRPr sz="1846"/>
            </a:lvl2pPr>
            <a:lvl3pPr marL="844056" indent="0" algn="ctr">
              <a:buNone/>
              <a:defRPr sz="1662"/>
            </a:lvl3pPr>
            <a:lvl4pPr marL="1266086" indent="0" algn="ctr">
              <a:buNone/>
              <a:defRPr sz="1477"/>
            </a:lvl4pPr>
            <a:lvl5pPr marL="1688114" indent="0" algn="ctr">
              <a:buNone/>
              <a:defRPr sz="1477"/>
            </a:lvl5pPr>
            <a:lvl6pPr marL="2110142" indent="0" algn="ctr">
              <a:buNone/>
              <a:defRPr sz="1477"/>
            </a:lvl6pPr>
            <a:lvl7pPr marL="2532169" indent="0" algn="ctr">
              <a:buNone/>
              <a:defRPr sz="1477"/>
            </a:lvl7pPr>
            <a:lvl8pPr marL="2954198" indent="0" algn="ctr">
              <a:buNone/>
              <a:defRPr sz="1477"/>
            </a:lvl8pPr>
            <a:lvl9pPr marL="3376227" indent="0" algn="ctr">
              <a:buNone/>
              <a:defRPr sz="1477"/>
            </a:lvl9pPr>
          </a:lstStyle>
          <a:p>
            <a:r>
              <a:rPr lang="es-ES" dirty="0"/>
              <a:t>Haga clic para modificar el estilo de subtítulo del patrón</a:t>
            </a:r>
            <a:endParaRPr lang="es-PE" dirty="0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8169"/>
            <a:ext cx="9144000" cy="6459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2443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3923928" y="6492875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32"/>
            <a:ext cx="179512" cy="864096"/>
          </a:xfrm>
          <a:prstGeom prst="rect">
            <a:avLst/>
          </a:prstGeom>
        </p:spPr>
      </p:pic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7021692" cy="54359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220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endParaRPr lang="es-PE" dirty="0"/>
          </a:p>
        </p:txBody>
      </p:sp>
      <p:sp>
        <p:nvSpPr>
          <p:cNvPr id="13" name="Marcador de contenido 2"/>
          <p:cNvSpPr>
            <a:spLocks noGrp="1"/>
          </p:cNvSpPr>
          <p:nvPr>
            <p:ph idx="1"/>
          </p:nvPr>
        </p:nvSpPr>
        <p:spPr>
          <a:xfrm>
            <a:off x="323528" y="692696"/>
            <a:ext cx="7525748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20" b="1"/>
            </a:lvl1pPr>
            <a:lvl5pPr marL="1688114" indent="0">
              <a:buNone/>
              <a:defRPr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pic>
        <p:nvPicPr>
          <p:cNvPr id="48" name="Imagen 4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9" t="34600" r="20329" b="34600"/>
          <a:stretch/>
        </p:blipFill>
        <p:spPr>
          <a:xfrm>
            <a:off x="8172400" y="6381328"/>
            <a:ext cx="792088" cy="290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4388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28" y="388949"/>
            <a:ext cx="7776864" cy="3275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3528" y="676981"/>
            <a:ext cx="7776864" cy="3037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rgbClr val="3C3C43"/>
                </a:solidFill>
              </a:defRPr>
            </a:lvl2pPr>
            <a:lvl3pPr>
              <a:defRPr>
                <a:solidFill>
                  <a:srgbClr val="3C3C43"/>
                </a:solidFill>
              </a:defRPr>
            </a:lvl3pPr>
            <a:lvl4pPr>
              <a:defRPr>
                <a:solidFill>
                  <a:srgbClr val="3C3C43"/>
                </a:solidFill>
              </a:defRPr>
            </a:lvl4pPr>
            <a:lvl5pPr>
              <a:defRPr>
                <a:solidFill>
                  <a:srgbClr val="3C3C43"/>
                </a:solidFill>
              </a:defRPr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texto 8"/>
          <p:cNvSpPr>
            <a:spLocks noGrp="1"/>
          </p:cNvSpPr>
          <p:nvPr>
            <p:ph type="body" sz="quarter" idx="13"/>
          </p:nvPr>
        </p:nvSpPr>
        <p:spPr>
          <a:xfrm>
            <a:off x="468315" y="1484313"/>
            <a:ext cx="6911975" cy="4248150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16632"/>
            <a:ext cx="191713" cy="11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564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ángulo 6"/>
          <p:cNvSpPr/>
          <p:nvPr userDrawn="1"/>
        </p:nvSpPr>
        <p:spPr>
          <a:xfrm>
            <a:off x="0" y="0"/>
            <a:ext cx="82758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15"/>
          <a:stretch/>
        </p:blipFill>
        <p:spPr>
          <a:xfrm>
            <a:off x="107504" y="548680"/>
            <a:ext cx="1005198" cy="5832648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36664" y="5117662"/>
            <a:ext cx="7021692" cy="54359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692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36662" y="5589240"/>
            <a:ext cx="7615758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3692" b="1" baseline="0">
                <a:solidFill>
                  <a:srgbClr val="3C3C43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038928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30" y="548684"/>
            <a:ext cx="7021692" cy="5435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493658" y="1340774"/>
            <a:ext cx="3183210" cy="4764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5332140" y="1340774"/>
            <a:ext cx="3183210" cy="4764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114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9591" y="1340768"/>
            <a:ext cx="3888433" cy="79208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66" y="1328068"/>
            <a:ext cx="3888433" cy="792088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3" y="365134"/>
            <a:ext cx="7886700" cy="6156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91580" y="1400076"/>
            <a:ext cx="3672408" cy="6480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46" b="1"/>
            </a:lvl1pPr>
            <a:lvl2pPr marL="422028" indent="0">
              <a:buNone/>
              <a:defRPr sz="1846" b="1"/>
            </a:lvl2pPr>
            <a:lvl3pPr marL="844056" indent="0">
              <a:buNone/>
              <a:defRPr sz="1662" b="1"/>
            </a:lvl3pPr>
            <a:lvl4pPr marL="1266086" indent="0">
              <a:buNone/>
              <a:defRPr sz="1477" b="1"/>
            </a:lvl4pPr>
            <a:lvl5pPr marL="1688114" indent="0">
              <a:buNone/>
              <a:defRPr sz="1477" b="1"/>
            </a:lvl5pPr>
            <a:lvl6pPr marL="2110142" indent="0">
              <a:buNone/>
              <a:defRPr sz="1477" b="1"/>
            </a:lvl6pPr>
            <a:lvl7pPr marL="2532169" indent="0">
              <a:buNone/>
              <a:defRPr sz="1477" b="1"/>
            </a:lvl7pPr>
            <a:lvl8pPr marL="2954198" indent="0">
              <a:buNone/>
              <a:defRPr sz="1477" b="1"/>
            </a:lvl8pPr>
            <a:lvl9pPr marL="3376227" indent="0">
              <a:buNone/>
              <a:defRPr sz="1477" b="1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 hasCustomPrompt="1"/>
          </p:nvPr>
        </p:nvSpPr>
        <p:spPr>
          <a:xfrm>
            <a:off x="791582" y="2132859"/>
            <a:ext cx="3650768" cy="405680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 dirty="0"/>
              <a:t>Haga clic para modificar el estilo         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88024" y="1430660"/>
            <a:ext cx="3672408" cy="6174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46" b="1"/>
            </a:lvl1pPr>
            <a:lvl2pPr marL="422028" indent="0">
              <a:buNone/>
              <a:defRPr sz="1846" b="1"/>
            </a:lvl2pPr>
            <a:lvl3pPr marL="844056" indent="0">
              <a:buNone/>
              <a:defRPr sz="1662" b="1"/>
            </a:lvl3pPr>
            <a:lvl4pPr marL="1266086" indent="0">
              <a:buNone/>
              <a:defRPr sz="1477" b="1"/>
            </a:lvl4pPr>
            <a:lvl5pPr marL="1688114" indent="0">
              <a:buNone/>
              <a:defRPr sz="1477" b="1"/>
            </a:lvl5pPr>
            <a:lvl6pPr marL="2110142" indent="0">
              <a:buNone/>
              <a:defRPr sz="1477" b="1"/>
            </a:lvl6pPr>
            <a:lvl7pPr marL="2532169" indent="0">
              <a:buNone/>
              <a:defRPr sz="1477" b="1"/>
            </a:lvl7pPr>
            <a:lvl8pPr marL="2954198" indent="0">
              <a:buNone/>
              <a:defRPr sz="1477" b="1"/>
            </a:lvl8pPr>
            <a:lvl9pPr marL="3376227" indent="0">
              <a:buNone/>
              <a:defRPr sz="1477" b="1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91689" y="2132859"/>
            <a:ext cx="3668747" cy="4056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Rectángulo 11"/>
          <p:cNvSpPr/>
          <p:nvPr userDrawn="1"/>
        </p:nvSpPr>
        <p:spPr>
          <a:xfrm>
            <a:off x="0" y="0"/>
            <a:ext cx="5755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7611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28" y="388949"/>
            <a:ext cx="7776864" cy="3275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2153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Rectángulo 4"/>
          <p:cNvSpPr/>
          <p:nvPr userDrawn="1"/>
        </p:nvSpPr>
        <p:spPr>
          <a:xfrm>
            <a:off x="0" y="188640"/>
            <a:ext cx="179512" cy="792088"/>
          </a:xfrm>
          <a:prstGeom prst="rect">
            <a:avLst/>
          </a:prstGeom>
          <a:solidFill>
            <a:srgbClr val="4B84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8316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28" y="-99392"/>
            <a:ext cx="850412" cy="6984776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87624" y="260657"/>
            <a:ext cx="6229604" cy="7200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8507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8620" y="188642"/>
            <a:ext cx="7021692" cy="543595"/>
          </a:xfrm>
        </p:spPr>
        <p:txBody>
          <a:bodyPr anchor="b">
            <a:normAutofit/>
          </a:bodyPr>
          <a:lstStyle>
            <a:lvl1pPr>
              <a:defRPr sz="2215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8620" y="620688"/>
            <a:ext cx="7021692" cy="432048"/>
          </a:xfrm>
        </p:spPr>
        <p:txBody>
          <a:bodyPr>
            <a:normAutofit/>
          </a:bodyPr>
          <a:lstStyle>
            <a:lvl1pPr marL="0" indent="0">
              <a:buNone/>
              <a:defRPr sz="2215" b="1"/>
            </a:lvl1pPr>
            <a:lvl5pPr marL="1688114" indent="0">
              <a:buNone/>
              <a:defRPr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texto 8"/>
          <p:cNvSpPr>
            <a:spLocks noGrp="1"/>
          </p:cNvSpPr>
          <p:nvPr>
            <p:ph type="body" sz="quarter" idx="13"/>
          </p:nvPr>
        </p:nvSpPr>
        <p:spPr>
          <a:xfrm>
            <a:off x="971602" y="1412776"/>
            <a:ext cx="6408712" cy="4176464"/>
          </a:xfrm>
        </p:spPr>
        <p:txBody>
          <a:bodyPr/>
          <a:lstStyle>
            <a:lvl1pPr>
              <a:defRPr sz="1846"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30227" r="18500" b="29644"/>
          <a:stretch/>
        </p:blipFill>
        <p:spPr>
          <a:xfrm>
            <a:off x="6740245" y="5719136"/>
            <a:ext cx="2296253" cy="100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949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0832"/>
            <a:ext cx="838200" cy="6919176"/>
          </a:xfrm>
          <a:prstGeom prst="rect">
            <a:avLst/>
          </a:prstGeom>
        </p:spPr>
      </p:pic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1187624" y="260657"/>
            <a:ext cx="6229604" cy="7200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857889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 userDrawn="1"/>
        </p:nvSpPr>
        <p:spPr>
          <a:xfrm>
            <a:off x="1059507" y="2060848"/>
            <a:ext cx="2970330" cy="3816424"/>
          </a:xfrm>
          <a:prstGeom prst="rect">
            <a:avLst/>
          </a:prstGeom>
          <a:solidFill>
            <a:srgbClr val="4B84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59786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954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085946" y="987434"/>
            <a:ext cx="4629150" cy="48736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061610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>
                <a:solidFill>
                  <a:schemeClr val="bg1"/>
                </a:solidFill>
              </a:defRPr>
            </a:lvl1pPr>
            <a:lvl2pPr marL="422028" indent="0">
              <a:buNone/>
              <a:defRPr sz="1292"/>
            </a:lvl2pPr>
            <a:lvl3pPr marL="844056" indent="0">
              <a:buNone/>
              <a:defRPr sz="1108"/>
            </a:lvl3pPr>
            <a:lvl4pPr marL="1266086" indent="0">
              <a:buNone/>
              <a:defRPr sz="923"/>
            </a:lvl4pPr>
            <a:lvl5pPr marL="1688114" indent="0">
              <a:buNone/>
              <a:defRPr sz="923"/>
            </a:lvl5pPr>
            <a:lvl6pPr marL="2110142" indent="0">
              <a:buNone/>
              <a:defRPr sz="923"/>
            </a:lvl6pPr>
            <a:lvl7pPr marL="2532169" indent="0">
              <a:buNone/>
              <a:defRPr sz="923"/>
            </a:lvl7pPr>
            <a:lvl8pPr marL="2954198" indent="0">
              <a:buNone/>
              <a:defRPr sz="923"/>
            </a:lvl8pPr>
            <a:lvl9pPr marL="3376227" indent="0">
              <a:buNone/>
              <a:defRPr sz="923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1011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 userDrawn="1"/>
        </p:nvSpPr>
        <p:spPr>
          <a:xfrm>
            <a:off x="1059507" y="2060848"/>
            <a:ext cx="2970330" cy="3816424"/>
          </a:xfrm>
          <a:prstGeom prst="rect">
            <a:avLst/>
          </a:prstGeom>
          <a:solidFill>
            <a:srgbClr val="222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59786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954"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085946" y="987434"/>
            <a:ext cx="4629150" cy="48736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061610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>
                <a:solidFill>
                  <a:schemeClr val="bg1"/>
                </a:solidFill>
              </a:defRPr>
            </a:lvl1pPr>
            <a:lvl2pPr marL="422028" indent="0">
              <a:buNone/>
              <a:defRPr sz="1292"/>
            </a:lvl2pPr>
            <a:lvl3pPr marL="844056" indent="0">
              <a:buNone/>
              <a:defRPr sz="1108"/>
            </a:lvl3pPr>
            <a:lvl4pPr marL="1266086" indent="0">
              <a:buNone/>
              <a:defRPr sz="923"/>
            </a:lvl4pPr>
            <a:lvl5pPr marL="1688114" indent="0">
              <a:buNone/>
              <a:defRPr sz="923"/>
            </a:lvl5pPr>
            <a:lvl6pPr marL="2110142" indent="0">
              <a:buNone/>
              <a:defRPr sz="923"/>
            </a:lvl6pPr>
            <a:lvl7pPr marL="2532169" indent="0">
              <a:buNone/>
              <a:defRPr sz="923"/>
            </a:lvl7pPr>
            <a:lvl8pPr marL="2954198" indent="0">
              <a:buNone/>
              <a:defRPr sz="923"/>
            </a:lvl8pPr>
            <a:lvl9pPr marL="3376227" indent="0">
              <a:buNone/>
              <a:defRPr sz="923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94"/>
            <a:ext cx="683568" cy="713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0425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39554" y="987434"/>
            <a:ext cx="8175544" cy="48736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/>
            </a:lvl1pPr>
            <a:lvl2pPr>
              <a:defRPr sz="1477"/>
            </a:lvl2pPr>
            <a:lvl3pPr>
              <a:defRPr sz="1292"/>
            </a:lvl3pPr>
            <a:lvl4pPr>
              <a:defRPr sz="1108"/>
            </a:lvl4pPr>
            <a:lvl5pPr>
              <a:defRPr sz="1108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323528" y="388949"/>
            <a:ext cx="7776864" cy="327573"/>
          </a:xfrm>
          <a:prstGeom prst="rect">
            <a:avLst/>
          </a:prstGeom>
        </p:spPr>
        <p:txBody>
          <a:bodyPr/>
          <a:lstStyle>
            <a:lvl1pPr>
              <a:defRPr b="1" i="0"/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2474"/>
            <a:ext cx="9144000" cy="6880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5187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8620" y="188642"/>
            <a:ext cx="7021692" cy="54359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215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8620" y="620688"/>
            <a:ext cx="7021692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15" b="1"/>
            </a:lvl1pPr>
            <a:lvl5pPr marL="1688114" indent="0">
              <a:buNone/>
              <a:defRPr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texto 8"/>
          <p:cNvSpPr>
            <a:spLocks noGrp="1"/>
          </p:cNvSpPr>
          <p:nvPr>
            <p:ph type="body" sz="quarter" idx="13"/>
          </p:nvPr>
        </p:nvSpPr>
        <p:spPr>
          <a:xfrm>
            <a:off x="971602" y="1412776"/>
            <a:ext cx="6408712" cy="4176464"/>
          </a:xfrm>
          <a:prstGeom prst="rect">
            <a:avLst/>
          </a:prstGeom>
        </p:spPr>
        <p:txBody>
          <a:bodyPr/>
          <a:lstStyle>
            <a:lvl1pPr>
              <a:defRPr sz="1846"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30227" r="18500" b="29644"/>
          <a:stretch/>
        </p:blipFill>
        <p:spPr>
          <a:xfrm>
            <a:off x="8084554" y="6309320"/>
            <a:ext cx="951944" cy="417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3994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8507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94" y="-21670"/>
            <a:ext cx="9172894" cy="687967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437874" y="5805275"/>
            <a:ext cx="4751766" cy="152971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2585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329862" y="6065912"/>
            <a:ext cx="4833156" cy="5760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477">
                <a:solidFill>
                  <a:srgbClr val="4B841D"/>
                </a:solidFill>
              </a:defRPr>
            </a:lvl1pPr>
            <a:lvl2pPr marL="422028" indent="0" algn="ctr">
              <a:buNone/>
              <a:defRPr sz="1846"/>
            </a:lvl2pPr>
            <a:lvl3pPr marL="844056" indent="0" algn="ctr">
              <a:buNone/>
              <a:defRPr sz="1662"/>
            </a:lvl3pPr>
            <a:lvl4pPr marL="1266086" indent="0" algn="ctr">
              <a:buNone/>
              <a:defRPr sz="1477"/>
            </a:lvl4pPr>
            <a:lvl5pPr marL="1688114" indent="0" algn="ctr">
              <a:buNone/>
              <a:defRPr sz="1477"/>
            </a:lvl5pPr>
            <a:lvl6pPr marL="2110142" indent="0" algn="ctr">
              <a:buNone/>
              <a:defRPr sz="1477"/>
            </a:lvl6pPr>
            <a:lvl7pPr marL="2532169" indent="0" algn="ctr">
              <a:buNone/>
              <a:defRPr sz="1477"/>
            </a:lvl7pPr>
            <a:lvl8pPr marL="2954198" indent="0" algn="ctr">
              <a:buNone/>
              <a:defRPr sz="1477"/>
            </a:lvl8pPr>
            <a:lvl9pPr marL="3376227" indent="0" algn="ctr">
              <a:buNone/>
              <a:defRPr sz="1477"/>
            </a:lvl9pPr>
          </a:lstStyle>
          <a:p>
            <a:r>
              <a:rPr lang="es-ES" dirty="0"/>
              <a:t>Haga clic para modificar el estilo de subtítulo del patrón</a:t>
            </a:r>
            <a:endParaRPr lang="es-PE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7128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383870" y="5373227"/>
            <a:ext cx="4751766" cy="152971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2585"/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329862" y="5589240"/>
            <a:ext cx="4833156" cy="5760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477"/>
            </a:lvl1pPr>
            <a:lvl2pPr marL="422028" indent="0" algn="ctr">
              <a:buNone/>
              <a:defRPr sz="1846"/>
            </a:lvl2pPr>
            <a:lvl3pPr marL="844056" indent="0" algn="ctr">
              <a:buNone/>
              <a:defRPr sz="1662"/>
            </a:lvl3pPr>
            <a:lvl4pPr marL="1266086" indent="0" algn="ctr">
              <a:buNone/>
              <a:defRPr sz="1477"/>
            </a:lvl4pPr>
            <a:lvl5pPr marL="1688114" indent="0" algn="ctr">
              <a:buNone/>
              <a:defRPr sz="1477"/>
            </a:lvl5pPr>
            <a:lvl6pPr marL="2110142" indent="0" algn="ctr">
              <a:buNone/>
              <a:defRPr sz="1477"/>
            </a:lvl6pPr>
            <a:lvl7pPr marL="2532169" indent="0" algn="ctr">
              <a:buNone/>
              <a:defRPr sz="1477"/>
            </a:lvl7pPr>
            <a:lvl8pPr marL="2954198" indent="0" algn="ctr">
              <a:buNone/>
              <a:defRPr sz="1477"/>
            </a:lvl8pPr>
            <a:lvl9pPr marL="3376227" indent="0" algn="ctr">
              <a:buNone/>
              <a:defRPr sz="1477"/>
            </a:lvl9pPr>
          </a:lstStyle>
          <a:p>
            <a:r>
              <a:rPr lang="es-ES" dirty="0"/>
              <a:t>Haga clic para modificar el estilo de subtítulo del patrón</a:t>
            </a:r>
            <a:endParaRPr lang="es-PE" dirty="0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8171"/>
            <a:ext cx="9144000" cy="6459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0724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3923928" y="6492877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32"/>
            <a:ext cx="179512" cy="864096"/>
          </a:xfrm>
          <a:prstGeom prst="rect">
            <a:avLst/>
          </a:prstGeom>
        </p:spPr>
      </p:pic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323528" y="188642"/>
            <a:ext cx="7021692" cy="54359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220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endParaRPr lang="es-PE" dirty="0"/>
          </a:p>
        </p:txBody>
      </p:sp>
      <p:sp>
        <p:nvSpPr>
          <p:cNvPr id="13" name="Marcador de contenido 2"/>
          <p:cNvSpPr>
            <a:spLocks noGrp="1"/>
          </p:cNvSpPr>
          <p:nvPr>
            <p:ph idx="1"/>
          </p:nvPr>
        </p:nvSpPr>
        <p:spPr>
          <a:xfrm>
            <a:off x="323529" y="692696"/>
            <a:ext cx="7525748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20" b="1"/>
            </a:lvl1pPr>
            <a:lvl5pPr marL="1688114" indent="0">
              <a:buNone/>
              <a:defRPr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pic>
        <p:nvPicPr>
          <p:cNvPr id="48" name="Imagen 4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9" t="34600" r="20329" b="34600"/>
          <a:stretch/>
        </p:blipFill>
        <p:spPr>
          <a:xfrm>
            <a:off x="8172401" y="6381328"/>
            <a:ext cx="792088" cy="290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9445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28" y="388951"/>
            <a:ext cx="7776864" cy="3275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3528" y="676983"/>
            <a:ext cx="7776864" cy="3037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rgbClr val="3C3C43"/>
                </a:solidFill>
              </a:defRPr>
            </a:lvl2pPr>
            <a:lvl3pPr>
              <a:defRPr>
                <a:solidFill>
                  <a:srgbClr val="3C3C43"/>
                </a:solidFill>
              </a:defRPr>
            </a:lvl3pPr>
            <a:lvl4pPr>
              <a:defRPr>
                <a:solidFill>
                  <a:srgbClr val="3C3C43"/>
                </a:solidFill>
              </a:defRPr>
            </a:lvl4pPr>
            <a:lvl5pPr>
              <a:defRPr>
                <a:solidFill>
                  <a:srgbClr val="3C3C43"/>
                </a:solidFill>
              </a:defRPr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texto 8"/>
          <p:cNvSpPr>
            <a:spLocks noGrp="1"/>
          </p:cNvSpPr>
          <p:nvPr>
            <p:ph type="body" sz="quarter" idx="13"/>
          </p:nvPr>
        </p:nvSpPr>
        <p:spPr>
          <a:xfrm>
            <a:off x="468316" y="1484313"/>
            <a:ext cx="6911975" cy="4248150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16632"/>
            <a:ext cx="191713" cy="11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1701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8620" y="188642"/>
            <a:ext cx="7021692" cy="543595"/>
          </a:xfrm>
        </p:spPr>
        <p:txBody>
          <a:bodyPr anchor="b">
            <a:normAutofit/>
          </a:bodyPr>
          <a:lstStyle>
            <a:lvl1pPr>
              <a:defRPr sz="2215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8620" y="620688"/>
            <a:ext cx="7021692" cy="432048"/>
          </a:xfrm>
        </p:spPr>
        <p:txBody>
          <a:bodyPr>
            <a:normAutofit/>
          </a:bodyPr>
          <a:lstStyle>
            <a:lvl1pPr marL="0" indent="0">
              <a:buNone/>
              <a:defRPr sz="2215" b="1"/>
            </a:lvl1pPr>
            <a:lvl5pPr marL="1688114" indent="0">
              <a:buNone/>
              <a:defRPr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0253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ángulo 6"/>
          <p:cNvSpPr/>
          <p:nvPr userDrawn="1"/>
        </p:nvSpPr>
        <p:spPr>
          <a:xfrm>
            <a:off x="0" y="0"/>
            <a:ext cx="82758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15"/>
          <a:stretch/>
        </p:blipFill>
        <p:spPr>
          <a:xfrm>
            <a:off x="107504" y="548680"/>
            <a:ext cx="1005198" cy="5832648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36664" y="5117664"/>
            <a:ext cx="7021692" cy="54359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692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36662" y="5589240"/>
            <a:ext cx="7615758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3692" b="1" baseline="0">
                <a:solidFill>
                  <a:srgbClr val="3C3C43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352412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30" y="548686"/>
            <a:ext cx="7021692" cy="5435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493658" y="1340774"/>
            <a:ext cx="3183210" cy="4764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5332140" y="1340774"/>
            <a:ext cx="3183210" cy="4764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2921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9592" y="1340768"/>
            <a:ext cx="3888433" cy="79208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67" y="1328068"/>
            <a:ext cx="3888433" cy="792088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3" y="365136"/>
            <a:ext cx="7886700" cy="6156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91580" y="1400076"/>
            <a:ext cx="3672408" cy="6480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46" b="1"/>
            </a:lvl1pPr>
            <a:lvl2pPr marL="422028" indent="0">
              <a:buNone/>
              <a:defRPr sz="1846" b="1"/>
            </a:lvl2pPr>
            <a:lvl3pPr marL="844056" indent="0">
              <a:buNone/>
              <a:defRPr sz="1662" b="1"/>
            </a:lvl3pPr>
            <a:lvl4pPr marL="1266086" indent="0">
              <a:buNone/>
              <a:defRPr sz="1477" b="1"/>
            </a:lvl4pPr>
            <a:lvl5pPr marL="1688114" indent="0">
              <a:buNone/>
              <a:defRPr sz="1477" b="1"/>
            </a:lvl5pPr>
            <a:lvl6pPr marL="2110142" indent="0">
              <a:buNone/>
              <a:defRPr sz="1477" b="1"/>
            </a:lvl6pPr>
            <a:lvl7pPr marL="2532169" indent="0">
              <a:buNone/>
              <a:defRPr sz="1477" b="1"/>
            </a:lvl7pPr>
            <a:lvl8pPr marL="2954198" indent="0">
              <a:buNone/>
              <a:defRPr sz="1477" b="1"/>
            </a:lvl8pPr>
            <a:lvl9pPr marL="3376227" indent="0">
              <a:buNone/>
              <a:defRPr sz="1477" b="1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 hasCustomPrompt="1"/>
          </p:nvPr>
        </p:nvSpPr>
        <p:spPr>
          <a:xfrm>
            <a:off x="791583" y="2132859"/>
            <a:ext cx="3650768" cy="405680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 dirty="0"/>
              <a:t>Haga clic para modificar el estilo         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88024" y="1430660"/>
            <a:ext cx="3672408" cy="6174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46" b="1"/>
            </a:lvl1pPr>
            <a:lvl2pPr marL="422028" indent="0">
              <a:buNone/>
              <a:defRPr sz="1846" b="1"/>
            </a:lvl2pPr>
            <a:lvl3pPr marL="844056" indent="0">
              <a:buNone/>
              <a:defRPr sz="1662" b="1"/>
            </a:lvl3pPr>
            <a:lvl4pPr marL="1266086" indent="0">
              <a:buNone/>
              <a:defRPr sz="1477" b="1"/>
            </a:lvl4pPr>
            <a:lvl5pPr marL="1688114" indent="0">
              <a:buNone/>
              <a:defRPr sz="1477" b="1"/>
            </a:lvl5pPr>
            <a:lvl6pPr marL="2110142" indent="0">
              <a:buNone/>
              <a:defRPr sz="1477" b="1"/>
            </a:lvl6pPr>
            <a:lvl7pPr marL="2532169" indent="0">
              <a:buNone/>
              <a:defRPr sz="1477" b="1"/>
            </a:lvl7pPr>
            <a:lvl8pPr marL="2954198" indent="0">
              <a:buNone/>
              <a:defRPr sz="1477" b="1"/>
            </a:lvl8pPr>
            <a:lvl9pPr marL="3376227" indent="0">
              <a:buNone/>
              <a:defRPr sz="1477" b="1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91690" y="2132859"/>
            <a:ext cx="3668747" cy="4056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Rectángulo 11"/>
          <p:cNvSpPr/>
          <p:nvPr userDrawn="1"/>
        </p:nvSpPr>
        <p:spPr>
          <a:xfrm>
            <a:off x="0" y="0"/>
            <a:ext cx="5755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9295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28" y="388951"/>
            <a:ext cx="7776864" cy="3275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6341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Rectángulo 4"/>
          <p:cNvSpPr/>
          <p:nvPr userDrawn="1"/>
        </p:nvSpPr>
        <p:spPr>
          <a:xfrm>
            <a:off x="0" y="188640"/>
            <a:ext cx="179512" cy="792088"/>
          </a:xfrm>
          <a:prstGeom prst="rect">
            <a:avLst/>
          </a:prstGeom>
          <a:solidFill>
            <a:srgbClr val="4B84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5305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28" y="-99392"/>
            <a:ext cx="850412" cy="6984776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87625" y="260659"/>
            <a:ext cx="6229604" cy="7200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82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0832"/>
            <a:ext cx="838200" cy="6919176"/>
          </a:xfrm>
          <a:prstGeom prst="rect">
            <a:avLst/>
          </a:prstGeom>
        </p:spPr>
      </p:pic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1187625" y="260659"/>
            <a:ext cx="6229604" cy="7200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8998635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 userDrawn="1"/>
        </p:nvSpPr>
        <p:spPr>
          <a:xfrm>
            <a:off x="1059507" y="2060848"/>
            <a:ext cx="2970330" cy="3816424"/>
          </a:xfrm>
          <a:prstGeom prst="rect">
            <a:avLst/>
          </a:prstGeom>
          <a:solidFill>
            <a:srgbClr val="4B84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59786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954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085946" y="987436"/>
            <a:ext cx="4629150" cy="48736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061610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>
                <a:solidFill>
                  <a:schemeClr val="bg1"/>
                </a:solidFill>
              </a:defRPr>
            </a:lvl1pPr>
            <a:lvl2pPr marL="422028" indent="0">
              <a:buNone/>
              <a:defRPr sz="1292"/>
            </a:lvl2pPr>
            <a:lvl3pPr marL="844056" indent="0">
              <a:buNone/>
              <a:defRPr sz="1108"/>
            </a:lvl3pPr>
            <a:lvl4pPr marL="1266086" indent="0">
              <a:buNone/>
              <a:defRPr sz="923"/>
            </a:lvl4pPr>
            <a:lvl5pPr marL="1688114" indent="0">
              <a:buNone/>
              <a:defRPr sz="923"/>
            </a:lvl5pPr>
            <a:lvl6pPr marL="2110142" indent="0">
              <a:buNone/>
              <a:defRPr sz="923"/>
            </a:lvl6pPr>
            <a:lvl7pPr marL="2532169" indent="0">
              <a:buNone/>
              <a:defRPr sz="923"/>
            </a:lvl7pPr>
            <a:lvl8pPr marL="2954198" indent="0">
              <a:buNone/>
              <a:defRPr sz="923"/>
            </a:lvl8pPr>
            <a:lvl9pPr marL="3376227" indent="0">
              <a:buNone/>
              <a:defRPr sz="923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0294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 userDrawn="1"/>
        </p:nvSpPr>
        <p:spPr>
          <a:xfrm>
            <a:off x="1059507" y="2060848"/>
            <a:ext cx="2970330" cy="3816424"/>
          </a:xfrm>
          <a:prstGeom prst="rect">
            <a:avLst/>
          </a:prstGeom>
          <a:solidFill>
            <a:srgbClr val="222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59786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954"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085946" y="987436"/>
            <a:ext cx="4629150" cy="48736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061610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>
                <a:solidFill>
                  <a:schemeClr val="bg1"/>
                </a:solidFill>
              </a:defRPr>
            </a:lvl1pPr>
            <a:lvl2pPr marL="422028" indent="0">
              <a:buNone/>
              <a:defRPr sz="1292"/>
            </a:lvl2pPr>
            <a:lvl3pPr marL="844056" indent="0">
              <a:buNone/>
              <a:defRPr sz="1108"/>
            </a:lvl3pPr>
            <a:lvl4pPr marL="1266086" indent="0">
              <a:buNone/>
              <a:defRPr sz="923"/>
            </a:lvl4pPr>
            <a:lvl5pPr marL="1688114" indent="0">
              <a:buNone/>
              <a:defRPr sz="923"/>
            </a:lvl5pPr>
            <a:lvl6pPr marL="2110142" indent="0">
              <a:buNone/>
              <a:defRPr sz="923"/>
            </a:lvl6pPr>
            <a:lvl7pPr marL="2532169" indent="0">
              <a:buNone/>
              <a:defRPr sz="923"/>
            </a:lvl7pPr>
            <a:lvl8pPr marL="2954198" indent="0">
              <a:buNone/>
              <a:defRPr sz="923"/>
            </a:lvl8pPr>
            <a:lvl9pPr marL="3376227" indent="0">
              <a:buNone/>
              <a:defRPr sz="923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94"/>
            <a:ext cx="683568" cy="713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2248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39555" y="987436"/>
            <a:ext cx="8175544" cy="48736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/>
            </a:lvl1pPr>
            <a:lvl2pPr>
              <a:defRPr sz="1477"/>
            </a:lvl2pPr>
            <a:lvl3pPr>
              <a:defRPr sz="1292"/>
            </a:lvl3pPr>
            <a:lvl4pPr>
              <a:defRPr sz="1108"/>
            </a:lvl4pPr>
            <a:lvl5pPr>
              <a:defRPr sz="1108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323528" y="388951"/>
            <a:ext cx="7776864" cy="327573"/>
          </a:xfrm>
          <a:prstGeom prst="rect">
            <a:avLst/>
          </a:prstGeom>
        </p:spPr>
        <p:txBody>
          <a:bodyPr/>
          <a:lstStyle>
            <a:lvl1pPr>
              <a:defRPr b="1" i="0"/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2474"/>
            <a:ext cx="9144000" cy="6880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760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rgbClr val="3C3C43"/>
                </a:solidFill>
              </a:defRPr>
            </a:lvl2pPr>
            <a:lvl3pPr>
              <a:defRPr>
                <a:solidFill>
                  <a:srgbClr val="3C3C43"/>
                </a:solidFill>
              </a:defRPr>
            </a:lvl3pPr>
            <a:lvl4pPr>
              <a:defRPr>
                <a:solidFill>
                  <a:srgbClr val="3C3C43"/>
                </a:solidFill>
              </a:defRPr>
            </a:lvl4pPr>
            <a:lvl5pPr>
              <a:defRPr>
                <a:solidFill>
                  <a:srgbClr val="3C3C43"/>
                </a:solidFill>
              </a:defRPr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texto 8"/>
          <p:cNvSpPr>
            <a:spLocks noGrp="1"/>
          </p:cNvSpPr>
          <p:nvPr>
            <p:ph type="body" sz="quarter" idx="13"/>
          </p:nvPr>
        </p:nvSpPr>
        <p:spPr>
          <a:xfrm>
            <a:off x="468315" y="1484313"/>
            <a:ext cx="6911975" cy="424815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16632"/>
            <a:ext cx="191713" cy="11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2379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8620" y="188642"/>
            <a:ext cx="7021692" cy="54359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215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8620" y="620688"/>
            <a:ext cx="7021692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15" b="1"/>
            </a:lvl1pPr>
            <a:lvl5pPr marL="1688114" indent="0">
              <a:buNone/>
              <a:defRPr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texto 8"/>
          <p:cNvSpPr>
            <a:spLocks noGrp="1"/>
          </p:cNvSpPr>
          <p:nvPr>
            <p:ph type="body" sz="quarter" idx="13"/>
          </p:nvPr>
        </p:nvSpPr>
        <p:spPr>
          <a:xfrm>
            <a:off x="971603" y="1412776"/>
            <a:ext cx="6408712" cy="4176464"/>
          </a:xfrm>
          <a:prstGeom prst="rect">
            <a:avLst/>
          </a:prstGeom>
        </p:spPr>
        <p:txBody>
          <a:bodyPr/>
          <a:lstStyle>
            <a:lvl1pPr>
              <a:defRPr sz="1846"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30227" r="18500" b="29644"/>
          <a:stretch/>
        </p:blipFill>
        <p:spPr>
          <a:xfrm>
            <a:off x="8084554" y="6309322"/>
            <a:ext cx="951944" cy="417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1232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28952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9266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94" y="-21670"/>
            <a:ext cx="9172894" cy="687967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437874" y="5805273"/>
            <a:ext cx="4751766" cy="152971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2585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329862" y="6065912"/>
            <a:ext cx="4833156" cy="5760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477">
                <a:solidFill>
                  <a:srgbClr val="4B841D"/>
                </a:solidFill>
              </a:defRPr>
            </a:lvl1pPr>
            <a:lvl2pPr marL="422028" indent="0" algn="ctr">
              <a:buNone/>
              <a:defRPr sz="1846"/>
            </a:lvl2pPr>
            <a:lvl3pPr marL="844056" indent="0" algn="ctr">
              <a:buNone/>
              <a:defRPr sz="1662"/>
            </a:lvl3pPr>
            <a:lvl4pPr marL="1266086" indent="0" algn="ctr">
              <a:buNone/>
              <a:defRPr sz="1477"/>
            </a:lvl4pPr>
            <a:lvl5pPr marL="1688114" indent="0" algn="ctr">
              <a:buNone/>
              <a:defRPr sz="1477"/>
            </a:lvl5pPr>
            <a:lvl6pPr marL="2110142" indent="0" algn="ctr">
              <a:buNone/>
              <a:defRPr sz="1477"/>
            </a:lvl6pPr>
            <a:lvl7pPr marL="2532169" indent="0" algn="ctr">
              <a:buNone/>
              <a:defRPr sz="1477"/>
            </a:lvl7pPr>
            <a:lvl8pPr marL="2954198" indent="0" algn="ctr">
              <a:buNone/>
              <a:defRPr sz="1477"/>
            </a:lvl8pPr>
            <a:lvl9pPr marL="3376227" indent="0" algn="ctr">
              <a:buNone/>
              <a:defRPr sz="1477"/>
            </a:lvl9pPr>
          </a:lstStyle>
          <a:p>
            <a:r>
              <a:rPr lang="es-ES" dirty="0"/>
              <a:t>Haga clic para modificar el estilo de subtítulo del patrón</a:t>
            </a:r>
            <a:endParaRPr lang="es-PE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4098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383870" y="5373225"/>
            <a:ext cx="4751766" cy="152971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2585"/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329862" y="5589240"/>
            <a:ext cx="4833156" cy="5760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477"/>
            </a:lvl1pPr>
            <a:lvl2pPr marL="422028" indent="0" algn="ctr">
              <a:buNone/>
              <a:defRPr sz="1846"/>
            </a:lvl2pPr>
            <a:lvl3pPr marL="844056" indent="0" algn="ctr">
              <a:buNone/>
              <a:defRPr sz="1662"/>
            </a:lvl3pPr>
            <a:lvl4pPr marL="1266086" indent="0" algn="ctr">
              <a:buNone/>
              <a:defRPr sz="1477"/>
            </a:lvl4pPr>
            <a:lvl5pPr marL="1688114" indent="0" algn="ctr">
              <a:buNone/>
              <a:defRPr sz="1477"/>
            </a:lvl5pPr>
            <a:lvl6pPr marL="2110142" indent="0" algn="ctr">
              <a:buNone/>
              <a:defRPr sz="1477"/>
            </a:lvl6pPr>
            <a:lvl7pPr marL="2532169" indent="0" algn="ctr">
              <a:buNone/>
              <a:defRPr sz="1477"/>
            </a:lvl7pPr>
            <a:lvl8pPr marL="2954198" indent="0" algn="ctr">
              <a:buNone/>
              <a:defRPr sz="1477"/>
            </a:lvl8pPr>
            <a:lvl9pPr marL="3376227" indent="0" algn="ctr">
              <a:buNone/>
              <a:defRPr sz="1477"/>
            </a:lvl9pPr>
          </a:lstStyle>
          <a:p>
            <a:r>
              <a:rPr lang="es-ES" dirty="0"/>
              <a:t>Haga clic para modificar el estilo de subtítulo del patrón</a:t>
            </a:r>
            <a:endParaRPr lang="es-PE" dirty="0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8169"/>
            <a:ext cx="9144000" cy="6459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4438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3923928" y="6492875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32"/>
            <a:ext cx="179512" cy="864096"/>
          </a:xfrm>
          <a:prstGeom prst="rect">
            <a:avLst/>
          </a:prstGeom>
        </p:spPr>
      </p:pic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7021692" cy="54359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220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endParaRPr lang="es-PE" dirty="0"/>
          </a:p>
        </p:txBody>
      </p:sp>
      <p:sp>
        <p:nvSpPr>
          <p:cNvPr id="13" name="Marcador de contenido 2"/>
          <p:cNvSpPr>
            <a:spLocks noGrp="1"/>
          </p:cNvSpPr>
          <p:nvPr>
            <p:ph idx="1"/>
          </p:nvPr>
        </p:nvSpPr>
        <p:spPr>
          <a:xfrm>
            <a:off x="323528" y="692696"/>
            <a:ext cx="7525748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20" b="1"/>
            </a:lvl1pPr>
            <a:lvl5pPr marL="1688114" indent="0">
              <a:buNone/>
              <a:defRPr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pic>
        <p:nvPicPr>
          <p:cNvPr id="48" name="Imagen 4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9" t="34600" r="20329" b="34600"/>
          <a:stretch/>
        </p:blipFill>
        <p:spPr>
          <a:xfrm>
            <a:off x="8172400" y="6381328"/>
            <a:ext cx="792088" cy="290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0802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28" y="388949"/>
            <a:ext cx="7776864" cy="3275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3528" y="676981"/>
            <a:ext cx="7776864" cy="3037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rgbClr val="3C3C43"/>
                </a:solidFill>
              </a:defRPr>
            </a:lvl2pPr>
            <a:lvl3pPr>
              <a:defRPr>
                <a:solidFill>
                  <a:srgbClr val="3C3C43"/>
                </a:solidFill>
              </a:defRPr>
            </a:lvl3pPr>
            <a:lvl4pPr>
              <a:defRPr>
                <a:solidFill>
                  <a:srgbClr val="3C3C43"/>
                </a:solidFill>
              </a:defRPr>
            </a:lvl4pPr>
            <a:lvl5pPr>
              <a:defRPr>
                <a:solidFill>
                  <a:srgbClr val="3C3C43"/>
                </a:solidFill>
              </a:defRPr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texto 8"/>
          <p:cNvSpPr>
            <a:spLocks noGrp="1"/>
          </p:cNvSpPr>
          <p:nvPr>
            <p:ph type="body" sz="quarter" idx="13"/>
          </p:nvPr>
        </p:nvSpPr>
        <p:spPr>
          <a:xfrm>
            <a:off x="468315" y="1484313"/>
            <a:ext cx="6911975" cy="4248150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16632"/>
            <a:ext cx="191713" cy="11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8173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ángulo 6"/>
          <p:cNvSpPr/>
          <p:nvPr userDrawn="1"/>
        </p:nvSpPr>
        <p:spPr>
          <a:xfrm>
            <a:off x="0" y="0"/>
            <a:ext cx="82758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15"/>
          <a:stretch/>
        </p:blipFill>
        <p:spPr>
          <a:xfrm>
            <a:off x="107504" y="548680"/>
            <a:ext cx="1005198" cy="5832648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36664" y="5117662"/>
            <a:ext cx="7021692" cy="54359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692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36662" y="5589240"/>
            <a:ext cx="7615758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3692" b="1" baseline="0">
                <a:solidFill>
                  <a:srgbClr val="3C3C43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388718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30" y="548684"/>
            <a:ext cx="7021692" cy="5435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493658" y="1340774"/>
            <a:ext cx="3183210" cy="4764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5332140" y="1340774"/>
            <a:ext cx="3183210" cy="4764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561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9591" y="1340768"/>
            <a:ext cx="3888433" cy="79208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66" y="1328068"/>
            <a:ext cx="3888433" cy="792088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3" y="365134"/>
            <a:ext cx="7886700" cy="6156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91580" y="1400076"/>
            <a:ext cx="3672408" cy="6480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46" b="1"/>
            </a:lvl1pPr>
            <a:lvl2pPr marL="422028" indent="0">
              <a:buNone/>
              <a:defRPr sz="1846" b="1"/>
            </a:lvl2pPr>
            <a:lvl3pPr marL="844056" indent="0">
              <a:buNone/>
              <a:defRPr sz="1662" b="1"/>
            </a:lvl3pPr>
            <a:lvl4pPr marL="1266086" indent="0">
              <a:buNone/>
              <a:defRPr sz="1477" b="1"/>
            </a:lvl4pPr>
            <a:lvl5pPr marL="1688114" indent="0">
              <a:buNone/>
              <a:defRPr sz="1477" b="1"/>
            </a:lvl5pPr>
            <a:lvl6pPr marL="2110142" indent="0">
              <a:buNone/>
              <a:defRPr sz="1477" b="1"/>
            </a:lvl6pPr>
            <a:lvl7pPr marL="2532169" indent="0">
              <a:buNone/>
              <a:defRPr sz="1477" b="1"/>
            </a:lvl7pPr>
            <a:lvl8pPr marL="2954198" indent="0">
              <a:buNone/>
              <a:defRPr sz="1477" b="1"/>
            </a:lvl8pPr>
            <a:lvl9pPr marL="3376227" indent="0">
              <a:buNone/>
              <a:defRPr sz="1477" b="1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 hasCustomPrompt="1"/>
          </p:nvPr>
        </p:nvSpPr>
        <p:spPr>
          <a:xfrm>
            <a:off x="791582" y="2132859"/>
            <a:ext cx="3650768" cy="405680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 dirty="0"/>
              <a:t>Haga clic para modificar el estilo         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88024" y="1430660"/>
            <a:ext cx="3672408" cy="6174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46" b="1"/>
            </a:lvl1pPr>
            <a:lvl2pPr marL="422028" indent="0">
              <a:buNone/>
              <a:defRPr sz="1846" b="1"/>
            </a:lvl2pPr>
            <a:lvl3pPr marL="844056" indent="0">
              <a:buNone/>
              <a:defRPr sz="1662" b="1"/>
            </a:lvl3pPr>
            <a:lvl4pPr marL="1266086" indent="0">
              <a:buNone/>
              <a:defRPr sz="1477" b="1"/>
            </a:lvl4pPr>
            <a:lvl5pPr marL="1688114" indent="0">
              <a:buNone/>
              <a:defRPr sz="1477" b="1"/>
            </a:lvl5pPr>
            <a:lvl6pPr marL="2110142" indent="0">
              <a:buNone/>
              <a:defRPr sz="1477" b="1"/>
            </a:lvl6pPr>
            <a:lvl7pPr marL="2532169" indent="0">
              <a:buNone/>
              <a:defRPr sz="1477" b="1"/>
            </a:lvl7pPr>
            <a:lvl8pPr marL="2954198" indent="0">
              <a:buNone/>
              <a:defRPr sz="1477" b="1"/>
            </a:lvl8pPr>
            <a:lvl9pPr marL="3376227" indent="0">
              <a:buNone/>
              <a:defRPr sz="1477" b="1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91689" y="2132859"/>
            <a:ext cx="3668747" cy="4056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Rectángulo 11"/>
          <p:cNvSpPr/>
          <p:nvPr userDrawn="1"/>
        </p:nvSpPr>
        <p:spPr>
          <a:xfrm>
            <a:off x="0" y="0"/>
            <a:ext cx="5755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48750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28" y="388949"/>
            <a:ext cx="7776864" cy="3275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3629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ángulo 6"/>
          <p:cNvSpPr/>
          <p:nvPr userDrawn="1"/>
        </p:nvSpPr>
        <p:spPr>
          <a:xfrm>
            <a:off x="0" y="0"/>
            <a:ext cx="82758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15"/>
          <a:stretch/>
        </p:blipFill>
        <p:spPr>
          <a:xfrm>
            <a:off x="107504" y="548680"/>
            <a:ext cx="1005198" cy="5832648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36664" y="5117662"/>
            <a:ext cx="7021692" cy="543595"/>
          </a:xfrm>
        </p:spPr>
        <p:txBody>
          <a:bodyPr anchor="b">
            <a:noAutofit/>
          </a:bodyPr>
          <a:lstStyle>
            <a:lvl1pPr>
              <a:defRPr sz="3692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36662" y="5589240"/>
            <a:ext cx="7615758" cy="43204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92" b="1" baseline="0">
                <a:solidFill>
                  <a:srgbClr val="3C3C43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46786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Rectángulo 4"/>
          <p:cNvSpPr/>
          <p:nvPr userDrawn="1"/>
        </p:nvSpPr>
        <p:spPr>
          <a:xfrm>
            <a:off x="0" y="188640"/>
            <a:ext cx="179512" cy="792088"/>
          </a:xfrm>
          <a:prstGeom prst="rect">
            <a:avLst/>
          </a:prstGeom>
          <a:solidFill>
            <a:srgbClr val="4B84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5192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297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069"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87624" y="260657"/>
            <a:ext cx="6229604" cy="7200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9" t="34600" r="20329" b="34600"/>
          <a:stretch/>
        </p:blipFill>
        <p:spPr>
          <a:xfrm>
            <a:off x="7812360" y="122749"/>
            <a:ext cx="1137314" cy="417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1802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0832"/>
            <a:ext cx="838200" cy="6919176"/>
          </a:xfrm>
          <a:prstGeom prst="rect">
            <a:avLst/>
          </a:prstGeom>
        </p:spPr>
      </p:pic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1187624" y="260657"/>
            <a:ext cx="6229604" cy="7200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92818104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 userDrawn="1"/>
        </p:nvSpPr>
        <p:spPr>
          <a:xfrm>
            <a:off x="1059507" y="2060848"/>
            <a:ext cx="2970330" cy="3816424"/>
          </a:xfrm>
          <a:prstGeom prst="rect">
            <a:avLst/>
          </a:prstGeom>
          <a:solidFill>
            <a:srgbClr val="4B84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59786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954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085946" y="987434"/>
            <a:ext cx="4629150" cy="48736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061610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>
                <a:solidFill>
                  <a:schemeClr val="bg1"/>
                </a:solidFill>
              </a:defRPr>
            </a:lvl1pPr>
            <a:lvl2pPr marL="422028" indent="0">
              <a:buNone/>
              <a:defRPr sz="1292"/>
            </a:lvl2pPr>
            <a:lvl3pPr marL="844056" indent="0">
              <a:buNone/>
              <a:defRPr sz="1108"/>
            </a:lvl3pPr>
            <a:lvl4pPr marL="1266086" indent="0">
              <a:buNone/>
              <a:defRPr sz="923"/>
            </a:lvl4pPr>
            <a:lvl5pPr marL="1688114" indent="0">
              <a:buNone/>
              <a:defRPr sz="923"/>
            </a:lvl5pPr>
            <a:lvl6pPr marL="2110142" indent="0">
              <a:buNone/>
              <a:defRPr sz="923"/>
            </a:lvl6pPr>
            <a:lvl7pPr marL="2532169" indent="0">
              <a:buNone/>
              <a:defRPr sz="923"/>
            </a:lvl7pPr>
            <a:lvl8pPr marL="2954198" indent="0">
              <a:buNone/>
              <a:defRPr sz="923"/>
            </a:lvl8pPr>
            <a:lvl9pPr marL="3376227" indent="0">
              <a:buNone/>
              <a:defRPr sz="923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3147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 userDrawn="1"/>
        </p:nvSpPr>
        <p:spPr>
          <a:xfrm>
            <a:off x="1059507" y="2060848"/>
            <a:ext cx="2970330" cy="3816424"/>
          </a:xfrm>
          <a:prstGeom prst="rect">
            <a:avLst/>
          </a:prstGeom>
          <a:solidFill>
            <a:srgbClr val="222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59786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954"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085946" y="987434"/>
            <a:ext cx="4629150" cy="48736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061610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>
                <a:solidFill>
                  <a:schemeClr val="bg1"/>
                </a:solidFill>
              </a:defRPr>
            </a:lvl1pPr>
            <a:lvl2pPr marL="422028" indent="0">
              <a:buNone/>
              <a:defRPr sz="1292"/>
            </a:lvl2pPr>
            <a:lvl3pPr marL="844056" indent="0">
              <a:buNone/>
              <a:defRPr sz="1108"/>
            </a:lvl3pPr>
            <a:lvl4pPr marL="1266086" indent="0">
              <a:buNone/>
              <a:defRPr sz="923"/>
            </a:lvl4pPr>
            <a:lvl5pPr marL="1688114" indent="0">
              <a:buNone/>
              <a:defRPr sz="923"/>
            </a:lvl5pPr>
            <a:lvl6pPr marL="2110142" indent="0">
              <a:buNone/>
              <a:defRPr sz="923"/>
            </a:lvl6pPr>
            <a:lvl7pPr marL="2532169" indent="0">
              <a:buNone/>
              <a:defRPr sz="923"/>
            </a:lvl7pPr>
            <a:lvl8pPr marL="2954198" indent="0">
              <a:buNone/>
              <a:defRPr sz="923"/>
            </a:lvl8pPr>
            <a:lvl9pPr marL="3376227" indent="0">
              <a:buNone/>
              <a:defRPr sz="923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94"/>
            <a:ext cx="683568" cy="713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67514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39554" y="987434"/>
            <a:ext cx="8175544" cy="48736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/>
            </a:lvl1pPr>
            <a:lvl2pPr>
              <a:defRPr sz="1477"/>
            </a:lvl2pPr>
            <a:lvl3pPr>
              <a:defRPr sz="1292"/>
            </a:lvl3pPr>
            <a:lvl4pPr>
              <a:defRPr sz="1108"/>
            </a:lvl4pPr>
            <a:lvl5pPr>
              <a:defRPr sz="1108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323528" y="388949"/>
            <a:ext cx="7776864" cy="327573"/>
          </a:xfrm>
          <a:prstGeom prst="rect">
            <a:avLst/>
          </a:prstGeom>
        </p:spPr>
        <p:txBody>
          <a:bodyPr/>
          <a:lstStyle>
            <a:lvl1pPr>
              <a:defRPr b="1" i="0"/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2474"/>
            <a:ext cx="9144000" cy="6880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70539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8620" y="188642"/>
            <a:ext cx="7021692" cy="54359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215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8620" y="620688"/>
            <a:ext cx="7021692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15" b="1"/>
            </a:lvl1pPr>
            <a:lvl5pPr marL="1688114" indent="0">
              <a:buNone/>
              <a:defRPr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texto 8"/>
          <p:cNvSpPr>
            <a:spLocks noGrp="1"/>
          </p:cNvSpPr>
          <p:nvPr>
            <p:ph type="body" sz="quarter" idx="13"/>
          </p:nvPr>
        </p:nvSpPr>
        <p:spPr>
          <a:xfrm>
            <a:off x="971602" y="1412776"/>
            <a:ext cx="6408712" cy="4176464"/>
          </a:xfrm>
          <a:prstGeom prst="rect">
            <a:avLst/>
          </a:prstGeom>
        </p:spPr>
        <p:txBody>
          <a:bodyPr/>
          <a:lstStyle>
            <a:lvl1pPr>
              <a:defRPr sz="1846"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30227" r="18500" b="29644"/>
          <a:stretch/>
        </p:blipFill>
        <p:spPr>
          <a:xfrm>
            <a:off x="8084554" y="6309320"/>
            <a:ext cx="951944" cy="417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60325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4112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915"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dirty="0"/>
              <a:t>Título Omnes </a:t>
            </a:r>
            <a:r>
              <a:rPr lang="es-ES" dirty="0" err="1"/>
              <a:t>Semibold</a:t>
            </a:r>
            <a:r>
              <a:rPr lang="es-ES" dirty="0"/>
              <a:t> 28 </a:t>
            </a:r>
            <a:r>
              <a:rPr lang="es-ES" dirty="0" err="1"/>
              <a:t>pts</a:t>
            </a:r>
            <a:endParaRPr lang="es-PE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 hasCustomPrompt="1"/>
          </p:nvPr>
        </p:nvSpPr>
        <p:spPr>
          <a:xfrm>
            <a:off x="468313" y="1628775"/>
            <a:ext cx="8207375" cy="4537075"/>
          </a:xfrm>
        </p:spPr>
        <p:txBody>
          <a:bodyPr>
            <a:normAutofit/>
          </a:bodyPr>
          <a:lstStyle>
            <a:lvl1pPr>
              <a:defRPr sz="2500">
                <a:solidFill>
                  <a:srgbClr val="4E4E52"/>
                </a:solidFill>
              </a:defRPr>
            </a:lvl1pPr>
          </a:lstStyle>
          <a:p>
            <a:pPr lvl="0"/>
            <a:r>
              <a:rPr lang="es-ES" dirty="0"/>
              <a:t>Textos en Omnes Medium 25 </a:t>
            </a:r>
            <a:r>
              <a:rPr lang="es-ES" dirty="0" err="1"/>
              <a:t>pt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710005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17E0D-F8CE-4EF5-88D2-763AA050BE7F}" type="datetimeFigureOut">
              <a:rPr lang="es-ES" smtClean="0"/>
              <a:pPr/>
              <a:t>19/10/2020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3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Rectángulo 17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86532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30" y="548684"/>
            <a:ext cx="7021692" cy="5435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493658" y="1340774"/>
            <a:ext cx="3183210" cy="4764187"/>
          </a:xfrm>
        </p:spPr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5332140" y="1340774"/>
            <a:ext cx="3183210" cy="476418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78892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128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82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17E0D-F8CE-4EF5-88D2-763AA050BE7F}" type="datetimeFigureOut">
              <a:rPr lang="es-ES" smtClean="0"/>
              <a:pPr/>
              <a:t>19/10/2020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771152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848"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87624" y="260657"/>
            <a:ext cx="6229604" cy="7200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22028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9" t="34600" r="20329" b="34600"/>
          <a:stretch/>
        </p:blipFill>
        <p:spPr>
          <a:xfrm>
            <a:off x="7812360" y="122749"/>
            <a:ext cx="1137314" cy="417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3986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872"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17E0D-F8CE-4EF5-88D2-763AA050BE7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0930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386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89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75936" y="188640"/>
            <a:ext cx="8229600" cy="114300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95536" y="1484784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17E0D-F8CE-4EF5-88D2-763AA050BE7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82792" y="6538912"/>
            <a:ext cx="2133600" cy="365125"/>
          </a:xfr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5348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/>
              <a:pPr/>
              <a:t>19/10/2020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7030279" y="65743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pic>
        <p:nvPicPr>
          <p:cNvPr id="13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6830683"/>
          </a:xfrm>
          <a:prstGeom prst="rect">
            <a:avLst/>
          </a:prstGeom>
        </p:spPr>
      </p:pic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Rectángulo 17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/>
              <a:pPr/>
              <a:t>19/10/2020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3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Rectángulo 17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/>
              <a:pPr/>
              <a:t>19/10/2020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0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1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4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5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Rectángulo 18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/>
              <a:pPr/>
              <a:t>19/10/2020</a:t>
            </a:fld>
            <a:endParaRPr lang="es-E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3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4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5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6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7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Rectángulo 20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/>
              <a:pPr/>
              <a:t>19/10/2020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6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7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8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9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1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2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3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Rectángulo 16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8454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9591" y="1340768"/>
            <a:ext cx="3888433" cy="79208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66" y="1328068"/>
            <a:ext cx="3888433" cy="792088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3" y="365134"/>
            <a:ext cx="7886700" cy="61560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91580" y="1400076"/>
            <a:ext cx="3672408" cy="648072"/>
          </a:xfrm>
        </p:spPr>
        <p:txBody>
          <a:bodyPr anchor="b">
            <a:normAutofit/>
          </a:bodyPr>
          <a:lstStyle>
            <a:lvl1pPr marL="0" indent="0">
              <a:buNone/>
              <a:defRPr sz="1846" b="1"/>
            </a:lvl1pPr>
            <a:lvl2pPr marL="422028" indent="0">
              <a:buNone/>
              <a:defRPr sz="1846" b="1"/>
            </a:lvl2pPr>
            <a:lvl3pPr marL="844056" indent="0">
              <a:buNone/>
              <a:defRPr sz="1662" b="1"/>
            </a:lvl3pPr>
            <a:lvl4pPr marL="1266086" indent="0">
              <a:buNone/>
              <a:defRPr sz="1477" b="1"/>
            </a:lvl4pPr>
            <a:lvl5pPr marL="1688114" indent="0">
              <a:buNone/>
              <a:defRPr sz="1477" b="1"/>
            </a:lvl5pPr>
            <a:lvl6pPr marL="2110142" indent="0">
              <a:buNone/>
              <a:defRPr sz="1477" b="1"/>
            </a:lvl6pPr>
            <a:lvl7pPr marL="2532169" indent="0">
              <a:buNone/>
              <a:defRPr sz="1477" b="1"/>
            </a:lvl7pPr>
            <a:lvl8pPr marL="2954198" indent="0">
              <a:buNone/>
              <a:defRPr sz="1477" b="1"/>
            </a:lvl8pPr>
            <a:lvl9pPr marL="3376227" indent="0">
              <a:buNone/>
              <a:defRPr sz="1477" b="1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 hasCustomPrompt="1"/>
          </p:nvPr>
        </p:nvSpPr>
        <p:spPr>
          <a:xfrm>
            <a:off x="791582" y="2132859"/>
            <a:ext cx="3650768" cy="405680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 dirty="0"/>
              <a:t>Haga clic para modificar el estilo         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88024" y="1430660"/>
            <a:ext cx="3672408" cy="617488"/>
          </a:xfrm>
        </p:spPr>
        <p:txBody>
          <a:bodyPr anchor="b">
            <a:normAutofit/>
          </a:bodyPr>
          <a:lstStyle>
            <a:lvl1pPr marL="0" indent="0">
              <a:buNone/>
              <a:defRPr sz="1846" b="1"/>
            </a:lvl1pPr>
            <a:lvl2pPr marL="422028" indent="0">
              <a:buNone/>
              <a:defRPr sz="1846" b="1"/>
            </a:lvl2pPr>
            <a:lvl3pPr marL="844056" indent="0">
              <a:buNone/>
              <a:defRPr sz="1662" b="1"/>
            </a:lvl3pPr>
            <a:lvl4pPr marL="1266086" indent="0">
              <a:buNone/>
              <a:defRPr sz="1477" b="1"/>
            </a:lvl4pPr>
            <a:lvl5pPr marL="1688114" indent="0">
              <a:buNone/>
              <a:defRPr sz="1477" b="1"/>
            </a:lvl5pPr>
            <a:lvl6pPr marL="2110142" indent="0">
              <a:buNone/>
              <a:defRPr sz="1477" b="1"/>
            </a:lvl6pPr>
            <a:lvl7pPr marL="2532169" indent="0">
              <a:buNone/>
              <a:defRPr sz="1477" b="1"/>
            </a:lvl7pPr>
            <a:lvl8pPr marL="2954198" indent="0">
              <a:buNone/>
              <a:defRPr sz="1477" b="1"/>
            </a:lvl8pPr>
            <a:lvl9pPr marL="3376227" indent="0">
              <a:buNone/>
              <a:defRPr sz="1477" b="1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91689" y="2132859"/>
            <a:ext cx="3668747" cy="4056807"/>
          </a:xfrm>
        </p:spPr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PE" dirty="0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Rectángulo 11"/>
          <p:cNvSpPr/>
          <p:nvPr userDrawn="1"/>
        </p:nvSpPr>
        <p:spPr>
          <a:xfrm>
            <a:off x="0" y="0"/>
            <a:ext cx="5755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62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66251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7030279" y="65743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9" name="Rectángulo 18"/>
          <p:cNvSpPr/>
          <p:nvPr userDrawn="1"/>
        </p:nvSpPr>
        <p:spPr>
          <a:xfrm rot="16200000">
            <a:off x="-497930" y="681710"/>
            <a:ext cx="1233858" cy="23799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75132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8" name="Rectángulo 17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3243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0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sp>
        <p:nvSpPr>
          <p:cNvPr id="13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sp>
        <p:nvSpPr>
          <p:cNvPr id="14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sp>
        <p:nvSpPr>
          <p:cNvPr id="15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sp>
        <p:nvSpPr>
          <p:cNvPr id="16" name="Rectángulo 15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sp>
        <p:nvSpPr>
          <p:cNvPr id="18" name="Rectángulo 17"/>
          <p:cNvSpPr/>
          <p:nvPr userDrawn="1"/>
        </p:nvSpPr>
        <p:spPr>
          <a:xfrm rot="16200000">
            <a:off x="-497930" y="681710"/>
            <a:ext cx="1233858" cy="23799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8623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pic>
        <p:nvPicPr>
          <p:cNvPr id="13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8" name="Rectángulo 17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2955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pic>
        <p:nvPicPr>
          <p:cNvPr id="13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8" name="Rectángulo 17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62746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8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0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1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5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8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9" name="Rectángulo 18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7818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8620" y="188642"/>
            <a:ext cx="7021692" cy="543595"/>
          </a:xfrm>
        </p:spPr>
        <p:txBody>
          <a:bodyPr anchor="b">
            <a:normAutofit/>
          </a:bodyPr>
          <a:lstStyle>
            <a:lvl1pPr>
              <a:defRPr sz="2215">
                <a:solidFill>
                  <a:srgbClr val="3C3C43"/>
                </a:solidFill>
                <a:latin typeface="Raleway" panose="020B0003030101060003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8620" y="620688"/>
            <a:ext cx="7021692" cy="432048"/>
          </a:xfrm>
        </p:spPr>
        <p:txBody>
          <a:bodyPr>
            <a:normAutofit/>
          </a:bodyPr>
          <a:lstStyle>
            <a:lvl1pPr marL="0" indent="0">
              <a:buNone/>
              <a:defRPr sz="2215" b="1"/>
            </a:lvl1pPr>
            <a:lvl5pPr marL="1688114" indent="0">
              <a:buNone/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61051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7030279" y="65743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9" name="Rectángulo 18"/>
          <p:cNvSpPr/>
          <p:nvPr userDrawn="1"/>
        </p:nvSpPr>
        <p:spPr>
          <a:xfrm rot="16200000">
            <a:off x="-497930" y="681710"/>
            <a:ext cx="1233858" cy="23799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57013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prstClr val="black"/>
                </a:solidFill>
              </a:rPr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0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2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sp>
        <p:nvSpPr>
          <p:cNvPr id="13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sp>
        <p:nvSpPr>
          <p:cNvPr id="14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sp>
        <p:nvSpPr>
          <p:cNvPr id="15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sp>
        <p:nvSpPr>
          <p:cNvPr id="16" name="Rectángulo 15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57004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0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2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3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4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Rectángulo 16"/>
          <p:cNvSpPr/>
          <p:nvPr userDrawn="1"/>
        </p:nvSpPr>
        <p:spPr>
          <a:xfrm rot="16200000">
            <a:off x="-497930" y="681710"/>
            <a:ext cx="1233858" cy="23799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4946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78255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2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7030279" y="6574365"/>
            <a:ext cx="21336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z="900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 sz="900" dirty="0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2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4" name="9 Rectángulo"/>
          <p:cNvSpPr/>
          <p:nvPr userDrawn="1"/>
        </p:nvSpPr>
        <p:spPr>
          <a:xfrm>
            <a:off x="1" y="6591857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2" y="6591857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7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8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>
              <a:solidFill>
                <a:srgbClr val="F8F8F8"/>
              </a:solidFill>
            </a:endParaRPr>
          </a:p>
        </p:txBody>
      </p:sp>
      <p:sp>
        <p:nvSpPr>
          <p:cNvPr id="18" name="Rectángulo 17"/>
          <p:cNvSpPr/>
          <p:nvPr userDrawn="1"/>
        </p:nvSpPr>
        <p:spPr>
          <a:xfrm>
            <a:off x="5320207" y="1064714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350">
              <a:solidFill>
                <a:srgbClr val="F8F8F8"/>
              </a:solidFill>
            </a:endParaRPr>
          </a:p>
        </p:txBody>
      </p:sp>
      <p:sp>
        <p:nvSpPr>
          <p:cNvPr id="20" name="Rectángulo 19"/>
          <p:cNvSpPr/>
          <p:nvPr userDrawn="1"/>
        </p:nvSpPr>
        <p:spPr>
          <a:xfrm rot="16200000">
            <a:off x="-497930" y="681712"/>
            <a:ext cx="1233858" cy="23799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14812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7030279" y="65743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pic>
        <p:nvPicPr>
          <p:cNvPr id="13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6830683"/>
          </a:xfrm>
          <a:prstGeom prst="rect">
            <a:avLst/>
          </a:prstGeom>
        </p:spPr>
      </p:pic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8" name="Rectángulo 17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9155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8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0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1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pic>
        <p:nvPicPr>
          <p:cNvPr id="14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5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8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9" name="Rectángulo 18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62234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3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4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5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pic>
        <p:nvPicPr>
          <p:cNvPr id="16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7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8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9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20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21" name="Rectángulo 20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99864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7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8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9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1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pic>
        <p:nvPicPr>
          <p:cNvPr id="12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3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4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Rectángulo 16"/>
          <p:cNvSpPr/>
          <p:nvPr userDrawn="1"/>
        </p:nvSpPr>
        <p:spPr>
          <a:xfrm>
            <a:off x="5320207" y="1064712"/>
            <a:ext cx="3494762" cy="2379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1989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0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pic>
        <p:nvPicPr>
          <p:cNvPr id="11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6830683"/>
          </a:xfrm>
          <a:prstGeom prst="rect">
            <a:avLst/>
          </a:prstGeom>
        </p:spPr>
      </p:pic>
      <p:sp>
        <p:nvSpPr>
          <p:cNvPr id="12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3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4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27826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pic>
        <p:nvPicPr>
          <p:cNvPr id="13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92067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7030279" y="65743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6603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7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0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pic>
        <p:nvPicPr>
          <p:cNvPr id="13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4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5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6779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275936" y="6349792"/>
            <a:ext cx="2133600" cy="365125"/>
          </a:xfrm>
          <a:prstGeom prst="rect">
            <a:avLst/>
          </a:prstGeom>
        </p:spPr>
        <p:txBody>
          <a:bodyPr/>
          <a:lstStyle/>
          <a:p>
            <a:fld id="{B8317E0D-F8CE-4EF5-88D2-763AA050BE7F}" type="datetimeFigureOut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19/10/2020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3614" y="6538912"/>
            <a:ext cx="2133600" cy="365125"/>
          </a:xfrm>
          <a:prstGeom prst="rect">
            <a:avLst/>
          </a:prstGeom>
        </p:spPr>
        <p:txBody>
          <a:bodyPr/>
          <a:lstStyle/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8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idx="13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0" name="5 Marcador de número de diapositiva"/>
          <p:cNvSpPr txBox="1">
            <a:spLocks/>
          </p:cNvSpPr>
          <p:nvPr userDrawn="1"/>
        </p:nvSpPr>
        <p:spPr>
          <a:xfrm>
            <a:off x="6553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sp>
        <p:nvSpPr>
          <p:cNvPr id="11" name="1 Título"/>
          <p:cNvSpPr txBox="1">
            <a:spLocks/>
          </p:cNvSpPr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>
                <a:solidFill>
                  <a:srgbClr val="3C3C43"/>
                </a:solidFill>
              </a:rPr>
              <a:t>Haga clic para modificar el estilo de título del patrón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idx="14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A57A4F-47FE-42F5-91AB-A44A7839BA79}" type="slidenum">
              <a:rPr lang="es-ES" smtClean="0">
                <a:solidFill>
                  <a:srgbClr val="3C3C43">
                    <a:tint val="75000"/>
                  </a:srgbClr>
                </a:solidFill>
              </a:rPr>
              <a:pPr/>
              <a:t>‹Nº›</a:t>
            </a:fld>
            <a:endParaRPr lang="es-ES">
              <a:solidFill>
                <a:srgbClr val="3C3C43">
                  <a:tint val="75000"/>
                </a:srgbClr>
              </a:solidFill>
            </a:endParaRPr>
          </a:p>
        </p:txBody>
      </p:sp>
      <p:pic>
        <p:nvPicPr>
          <p:cNvPr id="14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" t="5795" r="2319"/>
          <a:stretch/>
        </p:blipFill>
        <p:spPr>
          <a:xfrm>
            <a:off x="22787" y="27317"/>
            <a:ext cx="9120233" cy="5777947"/>
          </a:xfrm>
          <a:prstGeom prst="rect">
            <a:avLst/>
          </a:prstGeom>
        </p:spPr>
      </p:pic>
      <p:sp>
        <p:nvSpPr>
          <p:cNvPr id="15" name="9 Rectángulo"/>
          <p:cNvSpPr/>
          <p:nvPr userDrawn="1"/>
        </p:nvSpPr>
        <p:spPr>
          <a:xfrm>
            <a:off x="0" y="6591855"/>
            <a:ext cx="2142836" cy="72887"/>
          </a:xfrm>
          <a:prstGeom prst="rect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6" name="10 Rectángulo"/>
          <p:cNvSpPr/>
          <p:nvPr userDrawn="1"/>
        </p:nvSpPr>
        <p:spPr>
          <a:xfrm>
            <a:off x="2224541" y="6591855"/>
            <a:ext cx="2142836" cy="728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7" name="11 Rectángulo"/>
          <p:cNvSpPr/>
          <p:nvPr userDrawn="1"/>
        </p:nvSpPr>
        <p:spPr>
          <a:xfrm>
            <a:off x="4450504" y="6591855"/>
            <a:ext cx="2142836" cy="728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  <p:sp>
        <p:nvSpPr>
          <p:cNvPr id="18" name="12 Rectángulo"/>
          <p:cNvSpPr/>
          <p:nvPr userDrawn="1"/>
        </p:nvSpPr>
        <p:spPr>
          <a:xfrm>
            <a:off x="6687127" y="6593960"/>
            <a:ext cx="2455450" cy="75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1424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vmlDrawing" Target="../drawings/vmlDrawing2.v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3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vmlDrawing" Target="../drawings/vmlDrawing4.vml"/><Relationship Id="rId3" Type="http://schemas.openxmlformats.org/officeDocument/2006/relationships/slideLayout" Target="../slideLayouts/slideLayout5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61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slideLayout" Target="../slideLayouts/slideLayout93.xml"/><Relationship Id="rId39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88.xml"/><Relationship Id="rId34" Type="http://schemas.openxmlformats.org/officeDocument/2006/relationships/slideLayout" Target="../slideLayouts/slideLayout101.xml"/><Relationship Id="rId42" Type="http://schemas.openxmlformats.org/officeDocument/2006/relationships/slideLayout" Target="../slideLayouts/slideLayout109.xml"/><Relationship Id="rId47" Type="http://schemas.openxmlformats.org/officeDocument/2006/relationships/image" Target="../media/image16.emf"/><Relationship Id="rId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32" Type="http://schemas.openxmlformats.org/officeDocument/2006/relationships/slideLayout" Target="../slideLayouts/slideLayout99.xml"/><Relationship Id="rId37" Type="http://schemas.openxmlformats.org/officeDocument/2006/relationships/slideLayout" Target="../slideLayouts/slideLayout104.xml"/><Relationship Id="rId40" Type="http://schemas.openxmlformats.org/officeDocument/2006/relationships/slideLayout" Target="../slideLayouts/slideLayout107.xml"/><Relationship Id="rId45" Type="http://schemas.openxmlformats.org/officeDocument/2006/relationships/tags" Target="../tags/tag7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slideLayout" Target="../slideLayouts/slideLayout95.xml"/><Relationship Id="rId36" Type="http://schemas.openxmlformats.org/officeDocument/2006/relationships/slideLayout" Target="../slideLayouts/slideLayout103.xml"/><Relationship Id="rId49" Type="http://schemas.openxmlformats.org/officeDocument/2006/relationships/image" Target="../media/image19.jpeg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31" Type="http://schemas.openxmlformats.org/officeDocument/2006/relationships/slideLayout" Target="../slideLayouts/slideLayout98.xml"/><Relationship Id="rId44" Type="http://schemas.openxmlformats.org/officeDocument/2006/relationships/vmlDrawing" Target="../drawings/vmlDrawing6.v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slideLayout" Target="../slideLayouts/slideLayout94.xml"/><Relationship Id="rId30" Type="http://schemas.openxmlformats.org/officeDocument/2006/relationships/slideLayout" Target="../slideLayouts/slideLayout97.xml"/><Relationship Id="rId35" Type="http://schemas.openxmlformats.org/officeDocument/2006/relationships/slideLayout" Target="../slideLayouts/slideLayout102.xml"/><Relationship Id="rId43" Type="http://schemas.openxmlformats.org/officeDocument/2006/relationships/theme" Target="../theme/theme5.xml"/><Relationship Id="rId48" Type="http://schemas.openxmlformats.org/officeDocument/2006/relationships/image" Target="../media/image18.png"/><Relationship Id="rId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33" Type="http://schemas.openxmlformats.org/officeDocument/2006/relationships/slideLayout" Target="../slideLayouts/slideLayout100.xml"/><Relationship Id="rId38" Type="http://schemas.openxmlformats.org/officeDocument/2006/relationships/slideLayout" Target="../slideLayouts/slideLayout105.xml"/><Relationship Id="rId46" Type="http://schemas.openxmlformats.org/officeDocument/2006/relationships/oleObject" Target="../embeddings/oleObject6.bin"/><Relationship Id="rId20" Type="http://schemas.openxmlformats.org/officeDocument/2006/relationships/slideLayout" Target="../slideLayouts/slideLayout87.xml"/><Relationship Id="rId41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image" Target="../media/image16.emf"/><Relationship Id="rId2" Type="http://schemas.openxmlformats.org/officeDocument/2006/relationships/slideLayout" Target="../slideLayouts/slideLayout111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vmlDrawing" Target="../drawings/vmlDrawing15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723" name="Diapositiva de think-cell" r:id="rId23" imgW="216" imgH="216" progId="TCLayout.ActiveDocument.1">
                  <p:embed/>
                </p:oleObj>
              </mc:Choice>
              <mc:Fallback>
                <p:oleObj name="Diapositiva de think-cell" r:id="rId2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395536" y="188642"/>
            <a:ext cx="7021692" cy="5435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395536" y="620688"/>
            <a:ext cx="7021692" cy="504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6794EA-BBB5-4770-B03A-2822A577035C}" type="datetimeFigureOut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19/10/2020</a:t>
            </a:fld>
            <a:endParaRPr lang="es-P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028952" y="635635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635635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882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  <p:sldLayoutId id="2147484084" r:id="rId12"/>
    <p:sldLayoutId id="2147484085" r:id="rId13"/>
    <p:sldLayoutId id="2147484086" r:id="rId14"/>
    <p:sldLayoutId id="2147484087" r:id="rId15"/>
    <p:sldLayoutId id="2147484088" r:id="rId16"/>
    <p:sldLayoutId id="2147484089" r:id="rId17"/>
    <p:sldLayoutId id="2147484090" r:id="rId18"/>
    <p:sldLayoutId id="2147484091" r:id="rId19"/>
  </p:sldLayoutIdLst>
  <p:txStyles>
    <p:titleStyle>
      <a:lvl1pPr algn="l" defTabSz="844056" rtl="0" eaLnBrk="1" latinLnBrk="0" hangingPunct="1">
        <a:lnSpc>
          <a:spcPct val="90000"/>
        </a:lnSpc>
        <a:spcBef>
          <a:spcPct val="0"/>
        </a:spcBef>
        <a:buNone/>
        <a:defRPr sz="2215" kern="1200">
          <a:solidFill>
            <a:schemeClr val="tx1"/>
          </a:solidFill>
          <a:latin typeface="Raleway" panose="020B0003030101060003" pitchFamily="34" charset="0"/>
          <a:ea typeface="+mj-ea"/>
          <a:cs typeface="+mj-cs"/>
        </a:defRPr>
      </a:lvl1pPr>
    </p:titleStyle>
    <p:bodyStyle>
      <a:lvl1pPr marL="0" indent="0" algn="l" defTabSz="844056" rtl="0" eaLnBrk="1" latinLnBrk="0" hangingPunct="1">
        <a:lnSpc>
          <a:spcPct val="90000"/>
        </a:lnSpc>
        <a:spcBef>
          <a:spcPts val="923"/>
        </a:spcBef>
        <a:buFontTx/>
        <a:buNone/>
        <a:defRPr sz="2215" b="1" kern="1200">
          <a:solidFill>
            <a:srgbClr val="3C3C43"/>
          </a:solidFill>
          <a:latin typeface="Raleway" panose="020B0003030101060003" pitchFamily="34" charset="0"/>
          <a:ea typeface="+mn-ea"/>
          <a:cs typeface="+mn-cs"/>
        </a:defRPr>
      </a:lvl1pPr>
      <a:lvl2pPr marL="633043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2pPr>
      <a:lvl3pPr marL="1055071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477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3pPr>
      <a:lvl4pPr marL="1477099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4pPr>
      <a:lvl5pPr marL="1899128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5pPr>
      <a:lvl6pPr marL="2321155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213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241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28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56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086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14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42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169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198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227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82205841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789" name="Diapositiva de think-cell" r:id="rId20" imgW="216" imgH="216" progId="TCLayout.ActiveDocument.1">
                  <p:embed/>
                </p:oleObj>
              </mc:Choice>
              <mc:Fallback>
                <p:oleObj name="Diapositiva de think-cell" r:id="rId2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635635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954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  <p:sldLayoutId id="2147484137" r:id="rId7"/>
    <p:sldLayoutId id="2147484138" r:id="rId8"/>
    <p:sldLayoutId id="2147484139" r:id="rId9"/>
    <p:sldLayoutId id="2147484140" r:id="rId10"/>
    <p:sldLayoutId id="2147484141" r:id="rId11"/>
    <p:sldLayoutId id="2147484142" r:id="rId12"/>
    <p:sldLayoutId id="2147484143" r:id="rId13"/>
    <p:sldLayoutId id="2147484144" r:id="rId14"/>
    <p:sldLayoutId id="2147484145" r:id="rId15"/>
    <p:sldLayoutId id="2147484146" r:id="rId16"/>
  </p:sldLayoutIdLst>
  <p:txStyles>
    <p:titleStyle>
      <a:lvl1pPr algn="l" defTabSz="844056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Raleway" panose="020B0003030101060003" pitchFamily="34" charset="0"/>
          <a:ea typeface="+mj-ea"/>
          <a:cs typeface="+mj-cs"/>
        </a:defRPr>
      </a:lvl1pPr>
    </p:titleStyle>
    <p:bodyStyle>
      <a:lvl1pPr marL="0" indent="0" algn="l" defTabSz="844056" rtl="0" eaLnBrk="1" latinLnBrk="0" hangingPunct="1">
        <a:lnSpc>
          <a:spcPct val="90000"/>
        </a:lnSpc>
        <a:spcBef>
          <a:spcPts val="923"/>
        </a:spcBef>
        <a:buFontTx/>
        <a:buNone/>
        <a:defRPr sz="2000" b="1" kern="1200">
          <a:solidFill>
            <a:srgbClr val="3C3C43"/>
          </a:solidFill>
          <a:latin typeface="Raleway" panose="020B0003030101060003" pitchFamily="34" charset="0"/>
          <a:ea typeface="+mn-ea"/>
          <a:cs typeface="+mn-cs"/>
        </a:defRPr>
      </a:lvl1pPr>
      <a:lvl2pPr marL="633043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2pPr>
      <a:lvl3pPr marL="1055071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477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3pPr>
      <a:lvl4pPr marL="1477099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4pPr>
      <a:lvl5pPr marL="1899128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5pPr>
      <a:lvl6pPr marL="2321155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213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241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28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56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086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14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42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169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198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227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769" name="Diapositiva de think-cell" r:id="rId20" imgW="216" imgH="216" progId="TCLayout.ActiveDocument.1">
                  <p:embed/>
                </p:oleObj>
              </mc:Choice>
              <mc:Fallback>
                <p:oleObj name="Diapositiva de think-cell" r:id="rId2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635636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973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  <p:sldLayoutId id="2147484174" r:id="rId4"/>
    <p:sldLayoutId id="2147484175" r:id="rId5"/>
    <p:sldLayoutId id="2147484176" r:id="rId6"/>
    <p:sldLayoutId id="2147484177" r:id="rId7"/>
    <p:sldLayoutId id="2147484178" r:id="rId8"/>
    <p:sldLayoutId id="2147484179" r:id="rId9"/>
    <p:sldLayoutId id="2147484180" r:id="rId10"/>
    <p:sldLayoutId id="2147484181" r:id="rId11"/>
    <p:sldLayoutId id="2147484182" r:id="rId12"/>
    <p:sldLayoutId id="2147484183" r:id="rId13"/>
    <p:sldLayoutId id="2147484184" r:id="rId14"/>
    <p:sldLayoutId id="2147484185" r:id="rId15"/>
    <p:sldLayoutId id="2147484186" r:id="rId16"/>
  </p:sldLayoutIdLst>
  <p:txStyles>
    <p:titleStyle>
      <a:lvl1pPr algn="l" defTabSz="844056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Raleway" panose="020B0003030101060003" pitchFamily="34" charset="0"/>
          <a:ea typeface="+mj-ea"/>
          <a:cs typeface="+mj-cs"/>
        </a:defRPr>
      </a:lvl1pPr>
    </p:titleStyle>
    <p:bodyStyle>
      <a:lvl1pPr marL="0" indent="0" algn="l" defTabSz="844056" rtl="0" eaLnBrk="1" latinLnBrk="0" hangingPunct="1">
        <a:lnSpc>
          <a:spcPct val="90000"/>
        </a:lnSpc>
        <a:spcBef>
          <a:spcPts val="923"/>
        </a:spcBef>
        <a:buFontTx/>
        <a:buNone/>
        <a:defRPr sz="2000" b="1" kern="1200">
          <a:solidFill>
            <a:srgbClr val="3C3C43"/>
          </a:solidFill>
          <a:latin typeface="Raleway" panose="020B0003030101060003" pitchFamily="34" charset="0"/>
          <a:ea typeface="+mn-ea"/>
          <a:cs typeface="+mn-cs"/>
        </a:defRPr>
      </a:lvl1pPr>
      <a:lvl2pPr marL="633043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2pPr>
      <a:lvl3pPr marL="1055071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477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3pPr>
      <a:lvl4pPr marL="1477099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4pPr>
      <a:lvl5pPr marL="1899128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5pPr>
      <a:lvl6pPr marL="2321155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213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241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28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56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086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14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42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169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198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227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67655834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760" name="Diapositiva de think-cell" r:id="rId20" imgW="216" imgH="216" progId="TCLayout.ActiveDocument.1">
                  <p:embed/>
                </p:oleObj>
              </mc:Choice>
              <mc:Fallback>
                <p:oleObj name="Diapositiva de think-cell" r:id="rId2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635635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AE0D52-D290-4466-B436-BE5805183EF5}" type="slidenum">
              <a:rPr lang="es-PE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P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015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3" r:id="rId1"/>
    <p:sldLayoutId id="2147484224" r:id="rId2"/>
    <p:sldLayoutId id="2147484225" r:id="rId3"/>
    <p:sldLayoutId id="2147484226" r:id="rId4"/>
    <p:sldLayoutId id="2147484227" r:id="rId5"/>
    <p:sldLayoutId id="2147484228" r:id="rId6"/>
    <p:sldLayoutId id="2147484229" r:id="rId7"/>
    <p:sldLayoutId id="2147484230" r:id="rId8"/>
    <p:sldLayoutId id="2147484231" r:id="rId9"/>
    <p:sldLayoutId id="2147484232" r:id="rId10"/>
    <p:sldLayoutId id="2147484233" r:id="rId11"/>
    <p:sldLayoutId id="2147484234" r:id="rId12"/>
    <p:sldLayoutId id="2147484235" r:id="rId13"/>
    <p:sldLayoutId id="2147484236" r:id="rId14"/>
    <p:sldLayoutId id="2147484237" r:id="rId15"/>
    <p:sldLayoutId id="2147484238" r:id="rId16"/>
  </p:sldLayoutIdLst>
  <p:txStyles>
    <p:titleStyle>
      <a:lvl1pPr algn="l" defTabSz="844056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Raleway" panose="020B0003030101060003" pitchFamily="34" charset="0"/>
          <a:ea typeface="+mj-ea"/>
          <a:cs typeface="+mj-cs"/>
        </a:defRPr>
      </a:lvl1pPr>
    </p:titleStyle>
    <p:bodyStyle>
      <a:lvl1pPr marL="0" indent="0" algn="l" defTabSz="844056" rtl="0" eaLnBrk="1" latinLnBrk="0" hangingPunct="1">
        <a:lnSpc>
          <a:spcPct val="90000"/>
        </a:lnSpc>
        <a:spcBef>
          <a:spcPts val="923"/>
        </a:spcBef>
        <a:buFontTx/>
        <a:buNone/>
        <a:defRPr sz="2000" b="1" kern="1200">
          <a:solidFill>
            <a:srgbClr val="3C3C43"/>
          </a:solidFill>
          <a:latin typeface="Raleway" panose="020B0003030101060003" pitchFamily="34" charset="0"/>
          <a:ea typeface="+mn-ea"/>
          <a:cs typeface="+mn-cs"/>
        </a:defRPr>
      </a:lvl1pPr>
      <a:lvl2pPr marL="633043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2pPr>
      <a:lvl3pPr marL="1055071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477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3pPr>
      <a:lvl4pPr marL="1477099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4pPr>
      <a:lvl5pPr marL="1899128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222028"/>
          </a:solidFill>
          <a:latin typeface="Raleway" panose="020B0003030101060003" pitchFamily="34" charset="0"/>
          <a:ea typeface="+mn-ea"/>
          <a:cs typeface="+mn-cs"/>
        </a:defRPr>
      </a:lvl5pPr>
      <a:lvl6pPr marL="2321155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213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241" indent="-211014" algn="l" defTabSz="844056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28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56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086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14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42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169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198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227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4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892" name="Diapositiva de think-cell" r:id="rId46" imgW="216" imgH="216" progId="TCLayout.ActiveDocument.1">
                  <p:embed/>
                </p:oleObj>
              </mc:Choice>
              <mc:Fallback>
                <p:oleObj name="Diapositiva de think-cell" r:id="rId4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580694" y="260648"/>
            <a:ext cx="8106105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Título Omnes </a:t>
            </a:r>
            <a:r>
              <a:rPr lang="es-ES" dirty="0" err="1"/>
              <a:t>Semibold</a:t>
            </a:r>
            <a:r>
              <a:rPr lang="es-ES" dirty="0"/>
              <a:t> 28 </a:t>
            </a:r>
            <a:r>
              <a:rPr lang="es-ES" dirty="0" err="1"/>
              <a:t>pts</a:t>
            </a:r>
            <a:endParaRPr lang="es-PE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1"/>
            <a:r>
              <a:rPr lang="es-ES" dirty="0"/>
              <a:t>Textos en Omnes Medium 25 pts.</a:t>
            </a:r>
          </a:p>
          <a:p>
            <a:pPr lvl="1"/>
            <a:r>
              <a:rPr lang="es-ES" dirty="0"/>
              <a:t>Gris: R:78 / G:78 / B:82</a:t>
            </a:r>
            <a:endParaRPr lang="es-PE" dirty="0"/>
          </a:p>
          <a:p>
            <a:pPr lvl="0"/>
            <a:endParaRPr lang="es-PE" dirty="0"/>
          </a:p>
        </p:txBody>
      </p:sp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2340" y="6457421"/>
            <a:ext cx="1555967" cy="283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44" y="332656"/>
            <a:ext cx="579032" cy="579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177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2" r:id="rId1"/>
    <p:sldLayoutId id="2147484260" r:id="rId2"/>
    <p:sldLayoutId id="2147484261" r:id="rId3"/>
    <p:sldLayoutId id="2147484262" r:id="rId4"/>
    <p:sldLayoutId id="2147484263" r:id="rId5"/>
    <p:sldLayoutId id="2147484264" r:id="rId6"/>
    <p:sldLayoutId id="2147483650" r:id="rId7"/>
    <p:sldLayoutId id="2147483651" r:id="rId8"/>
    <p:sldLayoutId id="2147483652" r:id="rId9"/>
    <p:sldLayoutId id="2147483653" r:id="rId10"/>
    <p:sldLayoutId id="2147483654" r:id="rId11"/>
    <p:sldLayoutId id="2147483809" r:id="rId12"/>
    <p:sldLayoutId id="2147483810" r:id="rId13"/>
    <p:sldLayoutId id="2147483811" r:id="rId14"/>
    <p:sldLayoutId id="2147483796" r:id="rId15"/>
    <p:sldLayoutId id="2147483798" r:id="rId16"/>
    <p:sldLayoutId id="2147483799" r:id="rId17"/>
    <p:sldLayoutId id="2147483800" r:id="rId18"/>
    <p:sldLayoutId id="2147483801" r:id="rId19"/>
    <p:sldLayoutId id="2147483803" r:id="rId20"/>
    <p:sldLayoutId id="2147483804" r:id="rId21"/>
    <p:sldLayoutId id="2147483807" r:id="rId22"/>
    <p:sldLayoutId id="2147484188" r:id="rId23"/>
    <p:sldLayoutId id="2147483883" r:id="rId24"/>
    <p:sldLayoutId id="2147483885" r:id="rId25"/>
    <p:sldLayoutId id="2147483886" r:id="rId26"/>
    <p:sldLayoutId id="2147483887" r:id="rId27"/>
    <p:sldLayoutId id="2147483888" r:id="rId28"/>
    <p:sldLayoutId id="2147483939" r:id="rId29"/>
    <p:sldLayoutId id="2147483940" r:id="rId30"/>
    <p:sldLayoutId id="2147483941" r:id="rId31"/>
    <p:sldLayoutId id="2147483942" r:id="rId32"/>
    <p:sldLayoutId id="2147483943" r:id="rId33"/>
    <p:sldLayoutId id="2147483944" r:id="rId34"/>
    <p:sldLayoutId id="2147484020" r:id="rId35"/>
    <p:sldLayoutId id="2147484038" r:id="rId36"/>
    <p:sldLayoutId id="2147484049" r:id="rId37"/>
    <p:sldLayoutId id="2147484052" r:id="rId38"/>
    <p:sldLayoutId id="2147484277" r:id="rId39"/>
    <p:sldLayoutId id="2147484279" r:id="rId40"/>
    <p:sldLayoutId id="2147484280" r:id="rId41"/>
    <p:sldLayoutId id="2147484281" r:id="rId42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4E4E52"/>
          </a:solidFill>
          <a:latin typeface="Omnes Semibold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3200" kern="1200">
          <a:solidFill>
            <a:schemeClr val="tx1"/>
          </a:solidFill>
          <a:latin typeface="Omnes Medium" pitchFamily="50" charset="0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2500" kern="1200">
          <a:solidFill>
            <a:srgbClr val="4E4E52"/>
          </a:solidFill>
          <a:latin typeface="Omnes Medium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21284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4734" name="Diapositiva de think-cell" r:id="rId16" imgW="270" imgH="270" progId="TCLayout.ActiveDocument.1">
                  <p:embed/>
                </p:oleObj>
              </mc:Choice>
              <mc:Fallback>
                <p:oleObj name="Diapositiva d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88BED3-8363-490F-A349-80FCD1EEA94E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9/10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4E32D3-BF73-40DE-81E1-DF1BA78128C4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24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4" r:id="rId1"/>
    <p:sldLayoutId id="2147484245" r:id="rId2"/>
    <p:sldLayoutId id="2147484246" r:id="rId3"/>
    <p:sldLayoutId id="2147484247" r:id="rId4"/>
    <p:sldLayoutId id="2147484248" r:id="rId5"/>
    <p:sldLayoutId id="2147484249" r:id="rId6"/>
    <p:sldLayoutId id="2147484250" r:id="rId7"/>
    <p:sldLayoutId id="2147484251" r:id="rId8"/>
    <p:sldLayoutId id="2147484252" r:id="rId9"/>
    <p:sldLayoutId id="2147484253" r:id="rId10"/>
    <p:sldLayoutId id="2147484254" r:id="rId11"/>
    <p:sldLayoutId id="2147484282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5" Type="http://schemas.openxmlformats.org/officeDocument/2006/relationships/image" Target="../media/image40.png"/><Relationship Id="rId4" Type="http://schemas.openxmlformats.org/officeDocument/2006/relationships/hyperlink" Target="mailto:teayudamos@cientifica.edu.pe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2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5" Type="http://schemas.openxmlformats.org/officeDocument/2006/relationships/image" Target="../media/image30.png"/><Relationship Id="rId4" Type="http://schemas.openxmlformats.org/officeDocument/2006/relationships/hyperlink" Target="mailto:teayudamos@cientifica.edu.pe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5" Type="http://schemas.openxmlformats.org/officeDocument/2006/relationships/image" Target="../media/image32.png"/><Relationship Id="rId4" Type="http://schemas.openxmlformats.org/officeDocument/2006/relationships/hyperlink" Target="mailto:teayudamos@cientifica.edu.pe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teayudamos@cientifica.edu.pe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2575"/>
            <a:ext cx="9144000" cy="5732849"/>
          </a:xfrm>
          <a:prstGeom prst="rect">
            <a:avLst/>
          </a:prstGeom>
        </p:spPr>
      </p:pic>
      <p:sp>
        <p:nvSpPr>
          <p:cNvPr id="7" name="Rectángulo 6"/>
          <p:cNvSpPr/>
          <p:nvPr/>
        </p:nvSpPr>
        <p:spPr>
          <a:xfrm>
            <a:off x="0" y="0"/>
            <a:ext cx="9144000" cy="562575"/>
          </a:xfrm>
          <a:prstGeom prst="rect">
            <a:avLst/>
          </a:prstGeom>
          <a:solidFill>
            <a:srgbClr val="4848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Rectángulo 14"/>
          <p:cNvSpPr/>
          <p:nvPr/>
        </p:nvSpPr>
        <p:spPr>
          <a:xfrm>
            <a:off x="0" y="6268279"/>
            <a:ext cx="9144000" cy="562575"/>
          </a:xfrm>
          <a:prstGeom prst="rect">
            <a:avLst/>
          </a:prstGeom>
          <a:solidFill>
            <a:srgbClr val="4848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Rectángulo 8"/>
          <p:cNvSpPr/>
          <p:nvPr/>
        </p:nvSpPr>
        <p:spPr>
          <a:xfrm>
            <a:off x="0" y="2919558"/>
            <a:ext cx="9173029" cy="1661570"/>
          </a:xfrm>
          <a:prstGeom prst="rect">
            <a:avLst/>
          </a:prstGeom>
          <a:solidFill>
            <a:schemeClr val="bg1"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CuadroTexto 15"/>
          <p:cNvSpPr txBox="1"/>
          <p:nvPr/>
        </p:nvSpPr>
        <p:spPr>
          <a:xfrm>
            <a:off x="194027" y="3453928"/>
            <a:ext cx="8964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 dirty="0">
                <a:solidFill>
                  <a:schemeClr val="bg1"/>
                </a:solidFill>
              </a:rPr>
              <a:t>Portal Alumno Científica/ Mi Portal</a:t>
            </a:r>
            <a:endParaRPr lang="es-PE" sz="3200" b="1" dirty="0">
              <a:solidFill>
                <a:schemeClr val="bg1"/>
              </a:solidFill>
            </a:endParaRPr>
          </a:p>
        </p:txBody>
      </p:sp>
      <p:cxnSp>
        <p:nvCxnSpPr>
          <p:cNvPr id="6" name="Conector recto 5"/>
          <p:cNvCxnSpPr/>
          <p:nvPr/>
        </p:nvCxnSpPr>
        <p:spPr>
          <a:xfrm flipV="1">
            <a:off x="323528" y="4038703"/>
            <a:ext cx="8573024" cy="4285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ángulo redondeado 16"/>
          <p:cNvSpPr/>
          <p:nvPr/>
        </p:nvSpPr>
        <p:spPr>
          <a:xfrm>
            <a:off x="6526060" y="551146"/>
            <a:ext cx="1979113" cy="764088"/>
          </a:xfrm>
          <a:prstGeom prst="roundRect">
            <a:avLst>
              <a:gd name="adj" fmla="val 847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6176" y="526034"/>
            <a:ext cx="2638425" cy="1162050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>
            <a:off x="7524328" y="4195297"/>
            <a:ext cx="13947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i="1" dirty="0">
                <a:solidFill>
                  <a:schemeClr val="bg1"/>
                </a:solidFill>
                <a:latin typeface="+mj-lt"/>
              </a:rPr>
              <a:t>Febrero 2020</a:t>
            </a:r>
          </a:p>
        </p:txBody>
      </p:sp>
    </p:spTree>
    <p:extLst>
      <p:ext uri="{BB962C8B-B14F-4D97-AF65-F5344CB8AC3E}">
        <p14:creationId xmlns:p14="http://schemas.microsoft.com/office/powerpoint/2010/main" val="169480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Condiciones Académicas 1/5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3013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Esta opción permite al alumno visualizar su avance académico.  Esto Incluye el avance de créditos obligatorios y electivos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9582" y="5805264"/>
            <a:ext cx="8298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Además, mostrará los requerimientos adicionales requeridos para el egreso de la universidad.</a:t>
            </a:r>
            <a:endParaRPr lang="es-PE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7EB7015-98D9-40AF-BC72-8E4760F403D4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" name="Imagen 9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405619"/>
            <a:ext cx="7824198" cy="42354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31993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Mis Condiciones Académicas 2/5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41114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Al hacer </a:t>
            </a:r>
            <a:r>
              <a:rPr lang="es-ES" dirty="0" err="1"/>
              <a:t>click</a:t>
            </a:r>
            <a:r>
              <a:rPr lang="es-ES" dirty="0"/>
              <a:t> se visualizará el avance académico del alumno en el plan asignado.  En la </a:t>
            </a:r>
          </a:p>
          <a:p>
            <a:r>
              <a:rPr lang="es-ES" dirty="0"/>
              <a:t>consulta se puede ver el ciclo del plan, el curso, en que periodo llevó el mismo, además </a:t>
            </a:r>
          </a:p>
          <a:p>
            <a:r>
              <a:rPr lang="es-ES" dirty="0"/>
              <a:t>de los créditos y las notas obtenidas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8311" y="5530659"/>
            <a:ext cx="82077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Como característica adicional, al pasar el puntero del mouse sobre el curso aparecerán los requisitos necesarios para llevar el mismo.  La información puede descargarse en la opción “Descargar PDF”.</a:t>
            </a:r>
            <a:endParaRPr lang="es-PE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3F6B181F-4F90-473E-AC20-1BA265BE9CF7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5" name="Imagen 14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9488" y="1716594"/>
            <a:ext cx="6272621" cy="37989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04924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Mis Condiciones Académicas 3/5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343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El alumno puede visualizar los créditos obtenidos conforme aprueba los cursos de su plan académico, tanto en cursos obligatorios como en electivos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7150" y="5330839"/>
            <a:ext cx="79412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Se podrá apreciar como un porcentaje el avance de los créditos obtenidos respecto de los necesarios para egresar, tanto en cursos obligatorios como electivos.</a:t>
            </a:r>
            <a:endParaRPr lang="es-PE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D8FA86C-4D7A-47FE-B56F-B8E6A8061C6A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2" name="Imagen 11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004" y="1516963"/>
            <a:ext cx="7107589" cy="36038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59400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Mis Condiciones Académicas 4/5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4761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n esta parte se pueden apreciar los requisitos adicionales necesarios para el egreso, en </a:t>
            </a:r>
          </a:p>
          <a:p>
            <a:r>
              <a:rPr lang="es-ES" dirty="0"/>
              <a:t>la opción se muestra la condición de egreso requerida y lo cumplido por el alumno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53031" y="5225052"/>
            <a:ext cx="81514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Las condiciones adicionales de egreso varían de acuerdo al ciclo lectivo de admisión y el plan académico del alumno.</a:t>
            </a:r>
          </a:p>
          <a:p>
            <a:pPr algn="just"/>
            <a:r>
              <a:rPr lang="es-ES" dirty="0"/>
              <a:t>Adicionalmente se mostrará el promedio acumulado del alumno a lo largo de su carrera.</a:t>
            </a:r>
            <a:endParaRPr lang="es-PE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C264FF2-218A-4C53-9CB4-0B6A62CD3692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3" name="Imagen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388499"/>
            <a:ext cx="7424777" cy="36966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897010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Mis Condiciones Académicas 5/5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6116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Finalmente, el alumno puede descargar un PDF con el detalle de la información que esta </a:t>
            </a:r>
          </a:p>
          <a:p>
            <a:r>
              <a:rPr lang="es-ES" dirty="0"/>
              <a:t>visualizando en el portal. Para ello debe de darle </a:t>
            </a:r>
            <a:r>
              <a:rPr lang="es-ES" dirty="0" err="1"/>
              <a:t>click</a:t>
            </a:r>
            <a:r>
              <a:rPr lang="es-ES" dirty="0"/>
              <a:t> en “Descargar PDF”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7150" y="2699628"/>
            <a:ext cx="7608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Al dar </a:t>
            </a:r>
            <a:r>
              <a:rPr lang="es-ES" dirty="0" err="1"/>
              <a:t>click</a:t>
            </a:r>
            <a:r>
              <a:rPr lang="es-ES" dirty="0"/>
              <a:t> en el botón indicado, se mostrará el Registro Académico del alumno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9C852CF3-9C22-4D11-9CEA-47467F9785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039" b="35401"/>
          <a:stretch/>
        </p:blipFill>
        <p:spPr>
          <a:xfrm>
            <a:off x="1059782" y="3259463"/>
            <a:ext cx="6732240" cy="2254395"/>
          </a:xfrm>
          <a:prstGeom prst="rect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AD91D0AA-4339-472E-897A-09F0F419B0D7}"/>
              </a:ext>
            </a:extLst>
          </p:cNvPr>
          <p:cNvSpPr/>
          <p:nvPr/>
        </p:nvSpPr>
        <p:spPr>
          <a:xfrm>
            <a:off x="7093657" y="3606822"/>
            <a:ext cx="313760" cy="21881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872142D0-0A54-4CD3-8B46-29515BE8AF2C}"/>
              </a:ext>
            </a:extLst>
          </p:cNvPr>
          <p:cNvSpPr txBox="1"/>
          <p:nvPr/>
        </p:nvSpPr>
        <p:spPr>
          <a:xfrm>
            <a:off x="452984" y="5735742"/>
            <a:ext cx="6443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Para descargar el archivo debe de darle </a:t>
            </a:r>
            <a:r>
              <a:rPr lang="es-ES" dirty="0" err="1"/>
              <a:t>click</a:t>
            </a:r>
            <a:r>
              <a:rPr lang="es-ES" dirty="0"/>
              <a:t> en la flecha descargar.</a:t>
            </a:r>
            <a:endParaRPr lang="es-PE" dirty="0"/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C82010CE-8D26-4409-A1A6-262CDFED8EDD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759" y="1409602"/>
            <a:ext cx="6964263" cy="1236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58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Estado de Cuenta 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50949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l alumno visualizará los ítems pendientes de pago.  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BD1BC0E2-3FA1-4265-96F4-50C06322ABD8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" name="Imagen 9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340768"/>
            <a:ext cx="7508740" cy="39604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09446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Estado de Cuenta 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1" y="727014"/>
            <a:ext cx="81572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El alumno visualizará los ítems pendientes de pago, en verde limón los que están por vencer y los rojos son los vencidos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15C4B355-5C1E-47EC-9571-E4E883244ED0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4" name="Imagen 13"/>
          <p:cNvPicPr/>
          <p:nvPr/>
        </p:nvPicPr>
        <p:blipFill>
          <a:blip r:embed="rId4"/>
          <a:stretch>
            <a:fillRect/>
          </a:stretch>
        </p:blipFill>
        <p:spPr>
          <a:xfrm>
            <a:off x="755576" y="1844824"/>
            <a:ext cx="7344816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2357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Mi Historial de Cursos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4484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l alumno puede visualizar el historial de sus cursos llevados en la universidad, por cada </a:t>
            </a:r>
          </a:p>
          <a:p>
            <a:r>
              <a:rPr lang="es-ES" dirty="0"/>
              <a:t>unos de los ciclos lectivos donde ha estado matriculado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9583" y="5805264"/>
            <a:ext cx="66775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n adición se mostrará el promedio de obtenido en cada ciclo lectivo.</a:t>
            </a:r>
            <a:endParaRPr lang="es-PE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41D6467C-E7AE-480E-8531-99767E6B1855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" name="Imagen 9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83" y="1484784"/>
            <a:ext cx="7988279" cy="35283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338970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Mi Historial de Cursos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1" y="727014"/>
            <a:ext cx="81572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Se visualizará los cursos matriculados por cada ciclo lectivo donde registró matrícula, </a:t>
            </a:r>
          </a:p>
          <a:p>
            <a:r>
              <a:rPr lang="es-ES" dirty="0"/>
              <a:t>Información de los cursos con su creditaje y la nota obtenida en el mismo; de igual forma se muestra el promedio ponderado del ciclo cursado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1CEA9F36-8172-4BBD-93F0-AFCBC9FEBA43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Imagen 7"/>
          <p:cNvPicPr/>
          <p:nvPr/>
        </p:nvPicPr>
        <p:blipFill>
          <a:blip r:embed="rId4"/>
          <a:stretch>
            <a:fillRect/>
          </a:stretch>
        </p:blipFill>
        <p:spPr>
          <a:xfrm>
            <a:off x="827584" y="1681466"/>
            <a:ext cx="7285786" cy="445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4478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Matricula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1583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l alumno puede visualizar su turno de matricula, además de ello estará habilitada la </a:t>
            </a:r>
          </a:p>
          <a:p>
            <a:r>
              <a:rPr lang="es-ES" dirty="0"/>
              <a:t>opción de consulta de horarios y la del proceso de matricula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9583" y="5805264"/>
            <a:ext cx="80724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Las opciones de Matricula están explicados en el video tutorial de la primera página </a:t>
            </a:r>
          </a:p>
          <a:p>
            <a:r>
              <a:rPr lang="es-ES" dirty="0"/>
              <a:t>del portal.  Esta opción sólo estará disponible durante el proceso de matricula.</a:t>
            </a:r>
            <a:endParaRPr lang="es-PE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D6FC90F-A37D-492D-8D3E-77F509D532C5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3" name="Imagen 12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382" y="1339571"/>
            <a:ext cx="7488834" cy="44644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21251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75387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</a:t>
            </a:r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Login</a:t>
            </a:r>
            <a:endParaRPr lang="es-PE" sz="2800" b="1" spc="-150" dirty="0">
              <a:latin typeface="Arial Black"/>
              <a:ea typeface="+mj-ea"/>
              <a:cs typeface="Arial Black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0105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l alumno debe de registrarse con su usuario y </a:t>
            </a:r>
            <a:r>
              <a:rPr lang="es-ES" dirty="0" err="1"/>
              <a:t>password</a:t>
            </a:r>
            <a:r>
              <a:rPr lang="es-ES" dirty="0"/>
              <a:t>, el mismo que siempre ha </a:t>
            </a:r>
          </a:p>
          <a:p>
            <a:r>
              <a:rPr lang="es-ES" dirty="0"/>
              <a:t>utilizado en la Intranet (PeopleSoft)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9583" y="5445224"/>
            <a:ext cx="80080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El alumno puede recuperar su contraseña en “¿Olvidaste tu contraseña?”.  Además, están publicados los tutoriales para el proceso de matricula y el ingreso al aula virtual.</a:t>
            </a:r>
            <a:endParaRPr lang="es-PE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C2ADAEB-1891-4A64-82E7-189100BB74AE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2" name="Imagen 11"/>
          <p:cNvPicPr/>
          <p:nvPr/>
        </p:nvPicPr>
        <p:blipFill>
          <a:blip r:embed="rId4"/>
          <a:stretch>
            <a:fillRect/>
          </a:stretch>
        </p:blipFill>
        <p:spPr>
          <a:xfrm>
            <a:off x="539552" y="1340768"/>
            <a:ext cx="7848872" cy="406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161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75388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Biblioteca en Línea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78764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l alumno puede visualizar las diversas bibliotecas virtuales a las que tiene acceso,</a:t>
            </a:r>
          </a:p>
          <a:p>
            <a:r>
              <a:rPr lang="es-ES" dirty="0"/>
              <a:t>haciendo </a:t>
            </a:r>
            <a:r>
              <a:rPr lang="es-ES" dirty="0" err="1"/>
              <a:t>click</a:t>
            </a:r>
            <a:r>
              <a:rPr lang="es-ES" dirty="0"/>
              <a:t> en el icono resaltado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FD6FC90F-A37D-492D-8D3E-77F509D532C5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Imagen 8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58" y="1556792"/>
            <a:ext cx="8003310" cy="42834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8714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Biblioteca en Línea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5325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l alumno podrá visualizar todas las bibliotecas virtuales que la Universidad pone a su </a:t>
            </a:r>
          </a:p>
          <a:p>
            <a:r>
              <a:rPr lang="es-ES" dirty="0"/>
              <a:t>disposición para consultas, las cuales están disponibles para el alumno en todo momento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FD6FC90F-A37D-492D-8D3E-77F509D532C5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Imagen 7"/>
          <p:cNvPicPr/>
          <p:nvPr/>
        </p:nvPicPr>
        <p:blipFill>
          <a:blip r:embed="rId4"/>
          <a:stretch>
            <a:fillRect/>
          </a:stretch>
        </p:blipFill>
        <p:spPr>
          <a:xfrm>
            <a:off x="961683" y="1536555"/>
            <a:ext cx="7128232" cy="4754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3889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Mis Links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7865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n la sección de Mis Links se pone a disposición del alumnado información de interés de </a:t>
            </a:r>
          </a:p>
          <a:p>
            <a:r>
              <a:rPr lang="es-ES" dirty="0"/>
              <a:t>diversa índole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9583" y="5805264"/>
            <a:ext cx="61624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Para acceder a la opción debe de dar </a:t>
            </a:r>
            <a:r>
              <a:rPr lang="es-ES" dirty="0" err="1"/>
              <a:t>click</a:t>
            </a:r>
            <a:r>
              <a:rPr lang="es-ES" dirty="0"/>
              <a:t> en el icono resaltado.</a:t>
            </a:r>
            <a:endParaRPr lang="es-PE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D6FC90F-A37D-492D-8D3E-77F509D532C5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Imagen 8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97" y="1556792"/>
            <a:ext cx="7716244" cy="41789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03940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Mis Links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518614" y="727014"/>
            <a:ext cx="83961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La información que se pone a disposición del alumno está relacionada a temas como: </a:t>
            </a:r>
          </a:p>
          <a:p>
            <a:r>
              <a:rPr lang="es-ES"/>
              <a:t>calendarios </a:t>
            </a:r>
            <a:r>
              <a:rPr lang="es-ES" dirty="0"/>
              <a:t>académicos, información de carnés universitarios y consultas varias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9583" y="5805264"/>
            <a:ext cx="8039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Para acceder a la información el alumno sólo debe de darle </a:t>
            </a:r>
            <a:r>
              <a:rPr lang="es-ES" dirty="0" err="1"/>
              <a:t>click</a:t>
            </a:r>
            <a:r>
              <a:rPr lang="es-ES" dirty="0"/>
              <a:t> al link de su interés.</a:t>
            </a:r>
            <a:endParaRPr lang="es-PE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D6FC90F-A37D-492D-8D3E-77F509D532C5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B6B693F-F3C9-47CC-8897-05E6E6C4A9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3298" y="1775280"/>
            <a:ext cx="6865001" cy="3628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9877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704" y="1633871"/>
            <a:ext cx="5544616" cy="3455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1272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Página de Inicio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78082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l alumno tiene a disposición el horario semanal, datos personales, condiciones </a:t>
            </a:r>
          </a:p>
          <a:p>
            <a:r>
              <a:rPr lang="es-PE" dirty="0"/>
              <a:t>académicas, estado de cuenta y historial de cursos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9583" y="5805264"/>
            <a:ext cx="75981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Las opciones de Matricula sólo estarán activas durante el proceso de matricula.</a:t>
            </a:r>
          </a:p>
          <a:p>
            <a:r>
              <a:rPr lang="es-ES" dirty="0"/>
              <a:t>Adicionalmente se cuenta con las secciones de Biblioteca en Línea y Mis Links</a:t>
            </a:r>
            <a:endParaRPr lang="es-PE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4C73E906-B065-4191-B765-EFEB9FF5D410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" name="Imagen 9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469" y="1360816"/>
            <a:ext cx="7849943" cy="437492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59820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75388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Horario Semanal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7420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l alumno puede visualizar el horario semanal, se puede modificar las clases conforme lo </a:t>
            </a:r>
          </a:p>
          <a:p>
            <a:r>
              <a:rPr lang="es-ES" dirty="0"/>
              <a:t>estime conveniente.  Al dar </a:t>
            </a:r>
            <a:r>
              <a:rPr lang="es-ES" dirty="0" err="1"/>
              <a:t>click</a:t>
            </a:r>
            <a:r>
              <a:rPr lang="es-ES" dirty="0"/>
              <a:t> a la misma puede acceder a la información de la clase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9583" y="5805264"/>
            <a:ext cx="8139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Además, se mostrará información del día y hora de la clase, el docente encargado, el </a:t>
            </a:r>
          </a:p>
          <a:p>
            <a:r>
              <a:rPr lang="es-ES" dirty="0"/>
              <a:t>aula y el campus.</a:t>
            </a:r>
            <a:endParaRPr lang="es-PE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099043F7-606D-4997-8F25-963E7F863E88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3" name="Imagen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373345"/>
            <a:ext cx="6624736" cy="43455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3772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Mi Horario Semanal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49" y="727014"/>
            <a:ext cx="83677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Aparecerá una ventana donde el alumno puede revisar la información concerniente a su clase. Mediante los botones inferiores el alumno podrá ingresar a lo siguiente: 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15426AAD-7251-468A-BAD1-E02DB6F02F2D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4" name="Imagen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772816"/>
            <a:ext cx="7967907" cy="42872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6042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Horario Semanal: Notas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5496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l alumno podrá visualizar la fórmula del curso, además de las notas registradas según las </a:t>
            </a:r>
          </a:p>
          <a:p>
            <a:r>
              <a:rPr lang="es-ES" dirty="0"/>
              <a:t>actividades y el avance del promedio durante el ciclo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7150" y="5793958"/>
            <a:ext cx="83877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Al finalizar el ciclo y una vez que la clase se promedie se podrá visualizar el promedio final oficial obtenido.</a:t>
            </a:r>
            <a:endParaRPr lang="es-PE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D5B9149C-229B-4436-92A1-6EF0DE026E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8264" y="212070"/>
            <a:ext cx="576064" cy="47636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853B0F13-0C0E-4669-BEA0-CC609A45D4AD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5" name="Imagen 14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457314"/>
            <a:ext cx="7716144" cy="4032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06364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Horario Semanal: Asistencia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3849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Se puede apreciar la asistencia del alumno a clases en el ciclo en curso.  La información </a:t>
            </a:r>
          </a:p>
          <a:p>
            <a:r>
              <a:rPr lang="es-ES" dirty="0"/>
              <a:t>incluye el día y la hora de la misma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7150" y="5793958"/>
            <a:ext cx="81481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En la parte inferior, a manera de resumen, se muestra el porcentaje de asistencia del </a:t>
            </a:r>
          </a:p>
          <a:p>
            <a:r>
              <a:rPr lang="es-ES" dirty="0"/>
              <a:t>Alumno.</a:t>
            </a:r>
            <a:endParaRPr lang="es-PE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C74B628F-549E-41E0-8008-AB519FB6D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2022" y="188640"/>
            <a:ext cx="622932" cy="532088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139DA0AB-2A46-458E-A0B7-C92B4EEF0B84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4" name="Imagen 13"/>
          <p:cNvPicPr/>
          <p:nvPr/>
        </p:nvPicPr>
        <p:blipFill>
          <a:blip r:embed="rId5"/>
          <a:stretch>
            <a:fillRect/>
          </a:stretch>
        </p:blipFill>
        <p:spPr>
          <a:xfrm>
            <a:off x="827584" y="1533519"/>
            <a:ext cx="7404693" cy="418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6770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Datos Personales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1" y="727014"/>
            <a:ext cx="81572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A través de esta opción el alumno puede visualizar sus datos personales registrados en el sistema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9583" y="5805264"/>
            <a:ext cx="44601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Sólo debe de darle </a:t>
            </a:r>
            <a:r>
              <a:rPr lang="es-ES" dirty="0" err="1"/>
              <a:t>click</a:t>
            </a:r>
            <a:r>
              <a:rPr lang="es-ES" dirty="0"/>
              <a:t> en el icono resaltado.</a:t>
            </a:r>
            <a:endParaRPr lang="es-PE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C5E513C-AC2D-494D-914B-E5D84681EE81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" name="Imagen 9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50" y="1698438"/>
            <a:ext cx="8232134" cy="36027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70831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47150" y="188640"/>
            <a:ext cx="81572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spc="-150" dirty="0" err="1">
                <a:latin typeface="Arial Black"/>
                <a:ea typeface="+mj-ea"/>
                <a:cs typeface="Arial Black"/>
              </a:rPr>
              <a:t>MiPortal</a:t>
            </a:r>
            <a:r>
              <a:rPr lang="es-PE" sz="2800" b="1" spc="-150" dirty="0">
                <a:latin typeface="Arial Black"/>
                <a:ea typeface="+mj-ea"/>
                <a:cs typeface="Arial Black"/>
              </a:rPr>
              <a:t>: Datos Personales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7150" y="727014"/>
            <a:ext cx="83013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Aparecerá una ventana emergente que nos mostrará los datos del alumno tal como: nombre, código, correo electrónico, teléfono y dirección.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2E8D18-3DEA-4E64-82BF-5A60128C5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22" y="6397227"/>
            <a:ext cx="1181100" cy="390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67F7CA40-8395-47F5-8B62-7EB68CA8715D}"/>
              </a:ext>
            </a:extLst>
          </p:cNvPr>
          <p:cNvSpPr txBox="1"/>
          <p:nvPr/>
        </p:nvSpPr>
        <p:spPr>
          <a:xfrm>
            <a:off x="449583" y="5805264"/>
            <a:ext cx="7594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La misma siempre estará disponible para los fines que se estimen convenientes.</a:t>
            </a:r>
            <a:endParaRPr lang="es-PE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2E2D48E-101C-48A7-9763-49C09C9DA8EF}"/>
              </a:ext>
            </a:extLst>
          </p:cNvPr>
          <p:cNvSpPr txBox="1"/>
          <p:nvPr/>
        </p:nvSpPr>
        <p:spPr>
          <a:xfrm>
            <a:off x="420847" y="6453989"/>
            <a:ext cx="6829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Si tienes inconvenientes escríbenos a 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yudamos@cientifica.edu.pe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o llámanos al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610 6400 – </a:t>
            </a:r>
            <a:r>
              <a:rPr lang="es-PE" sz="1200" dirty="0" err="1">
                <a:solidFill>
                  <a:schemeClr val="bg1">
                    <a:lumMod val="50000"/>
                  </a:schemeClr>
                </a:solidFill>
              </a:rPr>
              <a:t>Anx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 1203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PE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s-P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" name="Imagen 9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708" y="1435671"/>
            <a:ext cx="7776864" cy="43072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44256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4.94655232152330803785E+00&quot;&gt;&lt;m_msothmcolidx val=&quot;0&quot;/&gt;&lt;m_rgb r=&quot;5A&quot; g=&quot;96&quot; b=&quot;32&quot;/&gt;&lt;m_nBrightness val=&quot;0&quot;/&gt;&lt;/elem&gt;&lt;elem m_fUsage=&quot;1.70999999999999996447E+00&quot;&gt;&lt;m_msothmcolidx val=&quot;0&quot;/&gt;&lt;m_rgb r=&quot;76&quot; g=&quot;C0&quot; b=&quot;45&quot;/&gt;&lt;m_nBrightness val=&quot;0&quot;/&gt;&lt;/elem&gt;&lt;elem m_fUsage=&quot;1.00000000000000000000E+00&quot;&gt;&lt;m_msothmcolidx val=&quot;0&quot;/&gt;&lt;m_rgb r=&quot;91&quot; g=&quot;CC&quot; b=&quot;68&quot;/&gt;&lt;m_nBrightness val=&quot;0&quot;/&gt;&lt;/elem&gt;&lt;elem m_fUsage=&quot;8.45251596090000223427E-01&quot;&gt;&lt;m_msothmcolidx val=&quot;0&quot;/&gt;&lt;m_rgb r=&quot;01&quot; g=&quot;A8&quot; b=&quot;50&quot;/&gt;&lt;m_nBrightness val=&quot;0&quot;/&gt;&lt;/elem&gt;&lt;elem m_fUsage=&quot;2.82429536481000165171E-01&quot;&gt;&lt;m_msothmcolidx val=&quot;0&quot;/&gt;&lt;m_rgb r=&quot;EE&quot; g=&quot;7E&quot; b=&quot;01&quot;/&gt;&lt;m_nBrightness val=&quot;0&quot;/&gt;&lt;/elem&gt;&lt;elem m_fUsage=&quot;1.21576654590569363523E-01&quot;&gt;&lt;m_msothmcolidx val=&quot;0&quot;/&gt;&lt;m_rgb r=&quot;3C&quot; g=&quot;3C&quot; b=&quot;43&quot;/&gt;&lt;m_nBrightness val=&quot;0&quot;/&gt;&lt;/elem&gt;&lt;elem m_fUsage=&quot;1.09418989131512434110E-01&quot;&gt;&lt;m_msothmcolidx val=&quot;0&quot;/&gt;&lt;m_rgb r=&quot;CA&quot; g=&quot;04&quot; b=&quot;22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Diseño personalizado">
  <a:themeElements>
    <a:clrScheme name="InLíder">
      <a:dk1>
        <a:srgbClr val="3C3C43"/>
      </a:dk1>
      <a:lt1>
        <a:srgbClr val="FFFFFF"/>
      </a:lt1>
      <a:dk2>
        <a:srgbClr val="5A9632"/>
      </a:dk2>
      <a:lt2>
        <a:srgbClr val="FFFFFF"/>
      </a:lt2>
      <a:accent1>
        <a:srgbClr val="98D073"/>
      </a:accent1>
      <a:accent2>
        <a:srgbClr val="BAE0A1"/>
      </a:accent2>
      <a:accent3>
        <a:srgbClr val="DCEFD0"/>
      </a:accent3>
      <a:accent4>
        <a:srgbClr val="858592"/>
      </a:accent4>
      <a:accent5>
        <a:srgbClr val="AEAEB6"/>
      </a:accent5>
      <a:accent6>
        <a:srgbClr val="D6D6DA"/>
      </a:accent6>
      <a:hlink>
        <a:srgbClr val="5A9632"/>
      </a:hlink>
      <a:folHlink>
        <a:srgbClr val="3C3C43"/>
      </a:folHlink>
    </a:clrScheme>
    <a:fontScheme name="InLíder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UCIC" id="{40725D8E-4D9D-4467-873C-8FA3D88B4E2E}" vid="{D2969F48-4E9C-43F6-A7E4-8D2CCB18157D}"/>
    </a:ext>
  </a:extLst>
</a:theme>
</file>

<file path=ppt/theme/theme2.xml><?xml version="1.0" encoding="utf-8"?>
<a:theme xmlns:a="http://schemas.openxmlformats.org/drawingml/2006/main" name="7_Diseño personalizado">
  <a:themeElements>
    <a:clrScheme name="InLíder">
      <a:dk1>
        <a:srgbClr val="3C3C43"/>
      </a:dk1>
      <a:lt1>
        <a:srgbClr val="FFFFFF"/>
      </a:lt1>
      <a:dk2>
        <a:srgbClr val="5A9632"/>
      </a:dk2>
      <a:lt2>
        <a:srgbClr val="FFFFFF"/>
      </a:lt2>
      <a:accent1>
        <a:srgbClr val="98D073"/>
      </a:accent1>
      <a:accent2>
        <a:srgbClr val="BAE0A1"/>
      </a:accent2>
      <a:accent3>
        <a:srgbClr val="DCEFD0"/>
      </a:accent3>
      <a:accent4>
        <a:srgbClr val="858592"/>
      </a:accent4>
      <a:accent5>
        <a:srgbClr val="AEAEB6"/>
      </a:accent5>
      <a:accent6>
        <a:srgbClr val="D6D6DA"/>
      </a:accent6>
      <a:hlink>
        <a:srgbClr val="5A9632"/>
      </a:hlink>
      <a:folHlink>
        <a:srgbClr val="3C3C43"/>
      </a:folHlink>
    </a:clrScheme>
    <a:fontScheme name="InLíder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UCIC" id="{40725D8E-4D9D-4467-873C-8FA3D88B4E2E}" vid="{E2ED6593-AA46-4366-A348-B8E1390592D8}"/>
    </a:ext>
  </a:extLst>
</a:theme>
</file>

<file path=ppt/theme/theme3.xml><?xml version="1.0" encoding="utf-8"?>
<a:theme xmlns:a="http://schemas.openxmlformats.org/drawingml/2006/main" name="8_Diseño personalizado">
  <a:themeElements>
    <a:clrScheme name="InLíder">
      <a:dk1>
        <a:srgbClr val="3C3C43"/>
      </a:dk1>
      <a:lt1>
        <a:srgbClr val="FFFFFF"/>
      </a:lt1>
      <a:dk2>
        <a:srgbClr val="5A9632"/>
      </a:dk2>
      <a:lt2>
        <a:srgbClr val="FFFFFF"/>
      </a:lt2>
      <a:accent1>
        <a:srgbClr val="98D073"/>
      </a:accent1>
      <a:accent2>
        <a:srgbClr val="BAE0A1"/>
      </a:accent2>
      <a:accent3>
        <a:srgbClr val="DCEFD0"/>
      </a:accent3>
      <a:accent4>
        <a:srgbClr val="858592"/>
      </a:accent4>
      <a:accent5>
        <a:srgbClr val="AEAEB6"/>
      </a:accent5>
      <a:accent6>
        <a:srgbClr val="D6D6DA"/>
      </a:accent6>
      <a:hlink>
        <a:srgbClr val="5A9632"/>
      </a:hlink>
      <a:folHlink>
        <a:srgbClr val="3C3C43"/>
      </a:folHlink>
    </a:clrScheme>
    <a:fontScheme name="InLíder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UCIC" id="{40725D8E-4D9D-4467-873C-8FA3D88B4E2E}" vid="{27698783-348B-41E7-9E64-663010061DCC}"/>
    </a:ext>
  </a:extLst>
</a:theme>
</file>

<file path=ppt/theme/theme4.xml><?xml version="1.0" encoding="utf-8"?>
<a:theme xmlns:a="http://schemas.openxmlformats.org/drawingml/2006/main" name="2_Diseño personalizado">
  <a:themeElements>
    <a:clrScheme name="InLíder">
      <a:dk1>
        <a:srgbClr val="3C3C43"/>
      </a:dk1>
      <a:lt1>
        <a:srgbClr val="FFFFFF"/>
      </a:lt1>
      <a:dk2>
        <a:srgbClr val="5A9632"/>
      </a:dk2>
      <a:lt2>
        <a:srgbClr val="FFFFFF"/>
      </a:lt2>
      <a:accent1>
        <a:srgbClr val="98D073"/>
      </a:accent1>
      <a:accent2>
        <a:srgbClr val="BAE0A1"/>
      </a:accent2>
      <a:accent3>
        <a:srgbClr val="DCEFD0"/>
      </a:accent3>
      <a:accent4>
        <a:srgbClr val="858592"/>
      </a:accent4>
      <a:accent5>
        <a:srgbClr val="AEAEB6"/>
      </a:accent5>
      <a:accent6>
        <a:srgbClr val="D6D6DA"/>
      </a:accent6>
      <a:hlink>
        <a:srgbClr val="5A9632"/>
      </a:hlink>
      <a:folHlink>
        <a:srgbClr val="3C3C43"/>
      </a:folHlink>
    </a:clrScheme>
    <a:fontScheme name="InLíder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 UCIC</Template>
  <TotalTime>40198</TotalTime>
  <Words>1483</Words>
  <Application>Microsoft Office PowerPoint</Application>
  <PresentationFormat>Presentación en pantalla (4:3)</PresentationFormat>
  <Paragraphs>106</Paragraphs>
  <Slides>24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38" baseType="lpstr">
      <vt:lpstr>Arial</vt:lpstr>
      <vt:lpstr>Arial Black</vt:lpstr>
      <vt:lpstr>Calibri</vt:lpstr>
      <vt:lpstr>Calibri Light</vt:lpstr>
      <vt:lpstr>Omnes Medium</vt:lpstr>
      <vt:lpstr>Omnes Semibold</vt:lpstr>
      <vt:lpstr>Raleway</vt:lpstr>
      <vt:lpstr>6_Diseño personalizado</vt:lpstr>
      <vt:lpstr>7_Diseño personalizado</vt:lpstr>
      <vt:lpstr>8_Diseño personalizado</vt:lpstr>
      <vt:lpstr>2_Diseño personalizado</vt:lpstr>
      <vt:lpstr>Diseño personalizado</vt:lpstr>
      <vt:lpstr>1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avid Domingo</dc:creator>
  <cp:lastModifiedBy>Javier Augusto Solano Baldovino</cp:lastModifiedBy>
  <cp:revision>1063</cp:revision>
  <cp:lastPrinted>2016-11-28T14:43:46Z</cp:lastPrinted>
  <dcterms:created xsi:type="dcterms:W3CDTF">2016-11-22T17:09:48Z</dcterms:created>
  <dcterms:modified xsi:type="dcterms:W3CDTF">2020-10-19T14:04:58Z</dcterms:modified>
</cp:coreProperties>
</file>